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6" r:id="rId4"/>
    <p:sldMasterId id="2147483719" r:id="rId5"/>
  </p:sldMasterIdLst>
  <p:notesMasterIdLst>
    <p:notesMasterId r:id="rId15"/>
  </p:notesMasterIdLst>
  <p:handoutMasterIdLst>
    <p:handoutMasterId r:id="rId16"/>
  </p:handoutMasterIdLst>
  <p:sldIdLst>
    <p:sldId id="2142532634" r:id="rId6"/>
    <p:sldId id="2142532653" r:id="rId7"/>
    <p:sldId id="274" r:id="rId8"/>
    <p:sldId id="2142532635" r:id="rId9"/>
    <p:sldId id="2142532655" r:id="rId10"/>
    <p:sldId id="2142532636" r:id="rId11"/>
    <p:sldId id="2142532652" r:id="rId12"/>
    <p:sldId id="2142532639" r:id="rId13"/>
    <p:sldId id="2142532656" r:id="rId14"/>
  </p:sldIdLst>
  <p:sldSz cx="12192000" cy="6858000"/>
  <p:notesSz cx="7315200" cy="9601200"/>
  <p:custDataLst>
    <p:tags r:id="rId1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B83A"/>
    <a:srgbClr val="07693D"/>
    <a:srgbClr val="53C74D"/>
    <a:srgbClr val="065A34"/>
    <a:srgbClr val="57E784"/>
    <a:srgbClr val="A9EB99"/>
    <a:srgbClr val="ECFEDE"/>
    <a:srgbClr val="FCFFD1"/>
    <a:srgbClr val="72AF2F"/>
    <a:srgbClr val="EDF9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65" autoAdjust="0"/>
    <p:restoredTop sz="95953" autoAdjust="0"/>
  </p:normalViewPr>
  <p:slideViewPr>
    <p:cSldViewPr snapToGrid="0" showGuides="1">
      <p:cViewPr varScale="1">
        <p:scale>
          <a:sx n="96" d="100"/>
          <a:sy n="96" d="100"/>
        </p:scale>
        <p:origin x="972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4" d="100"/>
          <a:sy n="74" d="100"/>
        </p:scale>
        <p:origin x="2934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31DB89-C548-4EF5-9DEB-F61D61795C99}" type="doc">
      <dgm:prSet loTypeId="urn:microsoft.com/office/officeart/2016/7/layout/HorizontalAction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5A634A6-BF2F-4A65-8C91-4CFD66192714}">
      <dgm:prSet/>
      <dgm:spPr>
        <a:solidFill>
          <a:srgbClr val="002060"/>
        </a:solidFill>
      </dgm:spPr>
      <dgm:t>
        <a:bodyPr/>
        <a:lstStyle/>
        <a:p>
          <a:r>
            <a:rPr lang="en-US" dirty="0"/>
            <a:t>CO2e Reduction</a:t>
          </a:r>
        </a:p>
      </dgm:t>
    </dgm:pt>
    <dgm:pt modelId="{CF71FF5A-50B1-499D-B5CA-CBCA553BC2A2}" type="parTrans" cxnId="{D311A975-7A34-4A40-B783-91948843A85F}">
      <dgm:prSet/>
      <dgm:spPr/>
      <dgm:t>
        <a:bodyPr/>
        <a:lstStyle/>
        <a:p>
          <a:endParaRPr lang="en-US"/>
        </a:p>
      </dgm:t>
    </dgm:pt>
    <dgm:pt modelId="{D6D68488-76F7-4E1B-A70C-C0B99A181125}" type="sibTrans" cxnId="{D311A975-7A34-4A40-B783-91948843A85F}">
      <dgm:prSet/>
      <dgm:spPr/>
      <dgm:t>
        <a:bodyPr/>
        <a:lstStyle/>
        <a:p>
          <a:endParaRPr lang="en-US"/>
        </a:p>
      </dgm:t>
    </dgm:pt>
    <dgm:pt modelId="{B0FE643B-4F70-4BFE-9DAC-6E57BD99B1F9}">
      <dgm:prSet custT="1"/>
      <dgm:spPr/>
      <dgm:t>
        <a:bodyPr/>
        <a:lstStyle/>
        <a:p>
          <a:pPr algn="l">
            <a:buFont typeface="Arial" panose="020B0604020202020204" pitchFamily="34" charset="0"/>
            <a:buChar char="•"/>
          </a:pPr>
          <a:r>
            <a:rPr lang="en-US" sz="1800" b="1" dirty="0">
              <a:solidFill>
                <a:srgbClr val="002060"/>
              </a:solidFill>
            </a:rPr>
            <a:t>Minimize CO2e by Optimized FTL  Load </a:t>
          </a:r>
        </a:p>
        <a:p>
          <a:pPr algn="l">
            <a:buFont typeface="Arial" panose="020B0604020202020204" pitchFamily="34" charset="0"/>
            <a:buNone/>
          </a:pPr>
          <a:r>
            <a:rPr lang="en-US" sz="1800" b="1" dirty="0">
              <a:solidFill>
                <a:srgbClr val="002060"/>
              </a:solidFill>
            </a:rPr>
            <a:t>Replaced Air Route with Rail Ocean ones at Order/Scheduling Time</a:t>
          </a:r>
        </a:p>
      </dgm:t>
    </dgm:pt>
    <dgm:pt modelId="{FB04DBD9-50BB-4B5B-8CDE-D9AF8BA5C148}" type="parTrans" cxnId="{C0932179-9504-487B-A5A1-06F94AD8FDBD}">
      <dgm:prSet/>
      <dgm:spPr/>
      <dgm:t>
        <a:bodyPr/>
        <a:lstStyle/>
        <a:p>
          <a:endParaRPr lang="en-US"/>
        </a:p>
      </dgm:t>
    </dgm:pt>
    <dgm:pt modelId="{8F0D0401-36F4-4F68-B9D2-A845D18E857B}" type="sibTrans" cxnId="{C0932179-9504-487B-A5A1-06F94AD8FDBD}">
      <dgm:prSet/>
      <dgm:spPr/>
      <dgm:t>
        <a:bodyPr/>
        <a:lstStyle/>
        <a:p>
          <a:endParaRPr lang="en-US"/>
        </a:p>
      </dgm:t>
    </dgm:pt>
    <dgm:pt modelId="{99F33B5C-3255-4442-80E6-3C38D5A70C28}">
      <dgm:prSet/>
      <dgm:spPr>
        <a:solidFill>
          <a:srgbClr val="002060"/>
        </a:solidFill>
      </dgm:spPr>
      <dgm:t>
        <a:bodyPr/>
        <a:lstStyle/>
        <a:p>
          <a:r>
            <a:rPr lang="en-US" dirty="0"/>
            <a:t>Air &amp; Ground</a:t>
          </a:r>
        </a:p>
      </dgm:t>
    </dgm:pt>
    <dgm:pt modelId="{9764FF87-023A-48E9-BD48-84978C5C189F}" type="parTrans" cxnId="{28EBB140-97D8-49C9-BE72-27FF60B76BF5}">
      <dgm:prSet/>
      <dgm:spPr/>
      <dgm:t>
        <a:bodyPr/>
        <a:lstStyle/>
        <a:p>
          <a:endParaRPr lang="en-US"/>
        </a:p>
      </dgm:t>
    </dgm:pt>
    <dgm:pt modelId="{66FF4D45-1AB2-486A-814C-5B38369A6C05}" type="sibTrans" cxnId="{28EBB140-97D8-49C9-BE72-27FF60B76BF5}">
      <dgm:prSet/>
      <dgm:spPr/>
      <dgm:t>
        <a:bodyPr/>
        <a:lstStyle/>
        <a:p>
          <a:endParaRPr lang="en-US"/>
        </a:p>
      </dgm:t>
    </dgm:pt>
    <dgm:pt modelId="{11E996DE-FAAD-44FB-B81F-E53533B3770B}">
      <dgm:prSet custT="1"/>
      <dgm:spPr/>
      <dgm:t>
        <a:bodyPr/>
        <a:lstStyle/>
        <a:p>
          <a:r>
            <a:rPr lang="en-US" sz="1800" b="1" dirty="0">
              <a:solidFill>
                <a:srgbClr val="002060"/>
              </a:solidFill>
            </a:rPr>
            <a:t>Air &amp; Ground trip consolidation opportunity alert</a:t>
          </a:r>
        </a:p>
        <a:p>
          <a:r>
            <a:rPr lang="en-US" sz="1800" b="1" dirty="0">
              <a:solidFill>
                <a:srgbClr val="002060"/>
              </a:solidFill>
            </a:rPr>
            <a:t>CO2 Green Carriers</a:t>
          </a:r>
        </a:p>
        <a:p>
          <a:endParaRPr lang="en-US" sz="1800" b="1" dirty="0">
            <a:solidFill>
              <a:srgbClr val="002060"/>
            </a:solidFill>
          </a:endParaRPr>
        </a:p>
      </dgm:t>
    </dgm:pt>
    <dgm:pt modelId="{62DF0FBE-F255-4A4D-B592-1F7D9D2C8A0A}" type="parTrans" cxnId="{60CD6CBD-F67B-4CFB-9B23-86C755451FAD}">
      <dgm:prSet/>
      <dgm:spPr/>
      <dgm:t>
        <a:bodyPr/>
        <a:lstStyle/>
        <a:p>
          <a:endParaRPr lang="en-US"/>
        </a:p>
      </dgm:t>
    </dgm:pt>
    <dgm:pt modelId="{41E58854-E5D2-4CAD-A6AA-3E75F5A43EF2}" type="sibTrans" cxnId="{60CD6CBD-F67B-4CFB-9B23-86C755451FAD}">
      <dgm:prSet/>
      <dgm:spPr/>
      <dgm:t>
        <a:bodyPr/>
        <a:lstStyle/>
        <a:p>
          <a:endParaRPr lang="en-US"/>
        </a:p>
      </dgm:t>
    </dgm:pt>
    <dgm:pt modelId="{80B3A6AD-FD10-47A2-BA3B-9BE5983484A8}">
      <dgm:prSet/>
      <dgm:spPr>
        <a:solidFill>
          <a:srgbClr val="002060"/>
        </a:solidFill>
      </dgm:spPr>
      <dgm:t>
        <a:bodyPr/>
        <a:lstStyle/>
        <a:p>
          <a:r>
            <a:rPr lang="en-US" dirty="0"/>
            <a:t>Air</a:t>
          </a:r>
        </a:p>
      </dgm:t>
    </dgm:pt>
    <dgm:pt modelId="{38FBB470-A364-4CF8-B978-B548B71C6FE2}" type="parTrans" cxnId="{E1AF82C7-E362-4257-838A-E8C32F1594FB}">
      <dgm:prSet/>
      <dgm:spPr/>
      <dgm:t>
        <a:bodyPr/>
        <a:lstStyle/>
        <a:p>
          <a:endParaRPr lang="en-US"/>
        </a:p>
      </dgm:t>
    </dgm:pt>
    <dgm:pt modelId="{775687BB-CDAE-4E65-A8A9-BAC2E4A2394A}" type="sibTrans" cxnId="{E1AF82C7-E362-4257-838A-E8C32F1594FB}">
      <dgm:prSet/>
      <dgm:spPr/>
      <dgm:t>
        <a:bodyPr/>
        <a:lstStyle/>
        <a:p>
          <a:endParaRPr lang="en-US"/>
        </a:p>
      </dgm:t>
    </dgm:pt>
    <dgm:pt modelId="{4C929864-C24E-4F87-9E05-54AC77BD2BBE}">
      <dgm:prSet custT="1"/>
      <dgm:spPr/>
      <dgm:t>
        <a:bodyPr/>
        <a:lstStyle/>
        <a:p>
          <a:r>
            <a:rPr lang="en-US" sz="1800" b="1" dirty="0">
              <a:solidFill>
                <a:srgbClr val="002060"/>
              </a:solidFill>
            </a:rPr>
            <a:t>Air route with minimum stops</a:t>
          </a:r>
        </a:p>
        <a:p>
          <a:r>
            <a:rPr lang="en-US" sz="1800" b="1" dirty="0">
              <a:solidFill>
                <a:srgbClr val="002060"/>
              </a:solidFill>
            </a:rPr>
            <a:t>Top CO2 friendly airlines</a:t>
          </a:r>
          <a:r>
            <a:rPr lang="en-US" sz="1600" b="1" dirty="0">
              <a:solidFill>
                <a:srgbClr val="002060"/>
              </a:solidFill>
            </a:rPr>
            <a:t> </a:t>
          </a:r>
        </a:p>
      </dgm:t>
    </dgm:pt>
    <dgm:pt modelId="{EB3BAB50-F9A0-43DD-9ADC-E8A39DD787EE}" type="parTrans" cxnId="{6FEC35C3-02F2-4410-A231-FB4C149835D9}">
      <dgm:prSet/>
      <dgm:spPr/>
      <dgm:t>
        <a:bodyPr/>
        <a:lstStyle/>
        <a:p>
          <a:endParaRPr lang="en-US"/>
        </a:p>
      </dgm:t>
    </dgm:pt>
    <dgm:pt modelId="{BB2F19CA-2806-4801-A943-B69065322A84}" type="sibTrans" cxnId="{6FEC35C3-02F2-4410-A231-FB4C149835D9}">
      <dgm:prSet/>
      <dgm:spPr/>
      <dgm:t>
        <a:bodyPr/>
        <a:lstStyle/>
        <a:p>
          <a:endParaRPr lang="en-US"/>
        </a:p>
      </dgm:t>
    </dgm:pt>
    <dgm:pt modelId="{21724633-20B2-40FF-AEE1-A7D97DA187B2}" type="pres">
      <dgm:prSet presAssocID="{F731DB89-C548-4EF5-9DEB-F61D61795C99}" presName="Name0" presStyleCnt="0">
        <dgm:presLayoutVars>
          <dgm:dir/>
          <dgm:animLvl val="lvl"/>
          <dgm:resizeHandles val="exact"/>
        </dgm:presLayoutVars>
      </dgm:prSet>
      <dgm:spPr/>
    </dgm:pt>
    <dgm:pt modelId="{8B2C58C8-DA93-4270-92F5-17936E7AEEC4}" type="pres">
      <dgm:prSet presAssocID="{B5A634A6-BF2F-4A65-8C91-4CFD66192714}" presName="composite" presStyleCnt="0"/>
      <dgm:spPr/>
    </dgm:pt>
    <dgm:pt modelId="{91DE953B-E35F-40EA-852D-BBD3A7D00154}" type="pres">
      <dgm:prSet presAssocID="{B5A634A6-BF2F-4A65-8C91-4CFD66192714}" presName="parTx" presStyleLbl="alignNode1" presStyleIdx="0" presStyleCnt="3" custScaleX="111558">
        <dgm:presLayoutVars>
          <dgm:chMax val="0"/>
          <dgm:chPref val="0"/>
        </dgm:presLayoutVars>
      </dgm:prSet>
      <dgm:spPr/>
    </dgm:pt>
    <dgm:pt modelId="{86ABB396-64D1-4CA2-A4E6-AE247770F8DD}" type="pres">
      <dgm:prSet presAssocID="{B5A634A6-BF2F-4A65-8C91-4CFD66192714}" presName="desTx" presStyleLbl="alignAccFollowNode1" presStyleIdx="0" presStyleCnt="3" custScaleX="111846" custLinFactNeighborX="789" custLinFactNeighborY="-215">
        <dgm:presLayoutVars/>
      </dgm:prSet>
      <dgm:spPr/>
    </dgm:pt>
    <dgm:pt modelId="{C85E5B09-400E-4725-BC26-5B5D700B38EA}" type="pres">
      <dgm:prSet presAssocID="{D6D68488-76F7-4E1B-A70C-C0B99A181125}" presName="space" presStyleCnt="0"/>
      <dgm:spPr/>
    </dgm:pt>
    <dgm:pt modelId="{DE95F29C-6A0E-4A81-9C8E-CBCC60589725}" type="pres">
      <dgm:prSet presAssocID="{99F33B5C-3255-4442-80E6-3C38D5A70C28}" presName="composite" presStyleCnt="0"/>
      <dgm:spPr/>
    </dgm:pt>
    <dgm:pt modelId="{3C601735-07BE-42D6-B9BB-080BAE831BDB}" type="pres">
      <dgm:prSet presAssocID="{99F33B5C-3255-4442-80E6-3C38D5A70C28}" presName="parTx" presStyleLbl="alignNode1" presStyleIdx="1" presStyleCnt="3">
        <dgm:presLayoutVars>
          <dgm:chMax val="0"/>
          <dgm:chPref val="0"/>
        </dgm:presLayoutVars>
      </dgm:prSet>
      <dgm:spPr/>
    </dgm:pt>
    <dgm:pt modelId="{3DBF377C-47DE-4115-9283-E5E4A014AE5C}" type="pres">
      <dgm:prSet presAssocID="{99F33B5C-3255-4442-80E6-3C38D5A70C28}" presName="desTx" presStyleLbl="alignAccFollowNode1" presStyleIdx="1" presStyleCnt="3">
        <dgm:presLayoutVars/>
      </dgm:prSet>
      <dgm:spPr/>
    </dgm:pt>
    <dgm:pt modelId="{85B124DC-1427-4E4F-9790-5A44C8A95B92}" type="pres">
      <dgm:prSet presAssocID="{66FF4D45-1AB2-486A-814C-5B38369A6C05}" presName="space" presStyleCnt="0"/>
      <dgm:spPr/>
    </dgm:pt>
    <dgm:pt modelId="{290A0C4B-AE89-4301-899D-5E40D5B0943A}" type="pres">
      <dgm:prSet presAssocID="{80B3A6AD-FD10-47A2-BA3B-9BE5983484A8}" presName="composite" presStyleCnt="0"/>
      <dgm:spPr/>
    </dgm:pt>
    <dgm:pt modelId="{2CF73820-7DAC-47C6-A933-64A788A2C424}" type="pres">
      <dgm:prSet presAssocID="{80B3A6AD-FD10-47A2-BA3B-9BE5983484A8}" presName="parTx" presStyleLbl="alignNode1" presStyleIdx="2" presStyleCnt="3">
        <dgm:presLayoutVars>
          <dgm:chMax val="0"/>
          <dgm:chPref val="0"/>
        </dgm:presLayoutVars>
      </dgm:prSet>
      <dgm:spPr/>
    </dgm:pt>
    <dgm:pt modelId="{495ED83B-BF85-485B-90E3-A2152D0DF550}" type="pres">
      <dgm:prSet presAssocID="{80B3A6AD-FD10-47A2-BA3B-9BE5983484A8}" presName="desTx" presStyleLbl="alignAccFollowNode1" presStyleIdx="2" presStyleCnt="3">
        <dgm:presLayoutVars/>
      </dgm:prSet>
      <dgm:spPr/>
    </dgm:pt>
  </dgm:ptLst>
  <dgm:cxnLst>
    <dgm:cxn modelId="{1B7DEC12-FEA5-4876-9A86-22787B2E5C9E}" type="presOf" srcId="{B0FE643B-4F70-4BFE-9DAC-6E57BD99B1F9}" destId="{86ABB396-64D1-4CA2-A4E6-AE247770F8DD}" srcOrd="0" destOrd="0" presId="urn:microsoft.com/office/officeart/2016/7/layout/HorizontalActionList"/>
    <dgm:cxn modelId="{76A6AB13-F17D-41EF-9010-369240FF61EF}" type="presOf" srcId="{11E996DE-FAAD-44FB-B81F-E53533B3770B}" destId="{3DBF377C-47DE-4115-9283-E5E4A014AE5C}" srcOrd="0" destOrd="0" presId="urn:microsoft.com/office/officeart/2016/7/layout/HorizontalActionList"/>
    <dgm:cxn modelId="{28EBB140-97D8-49C9-BE72-27FF60B76BF5}" srcId="{F731DB89-C548-4EF5-9DEB-F61D61795C99}" destId="{99F33B5C-3255-4442-80E6-3C38D5A70C28}" srcOrd="1" destOrd="0" parTransId="{9764FF87-023A-48E9-BD48-84978C5C189F}" sibTransId="{66FF4D45-1AB2-486A-814C-5B38369A6C05}"/>
    <dgm:cxn modelId="{D8CE1361-790D-4035-9A2C-28B76DB8B97A}" type="presOf" srcId="{4C929864-C24E-4F87-9E05-54AC77BD2BBE}" destId="{495ED83B-BF85-485B-90E3-A2152D0DF550}" srcOrd="0" destOrd="0" presId="urn:microsoft.com/office/officeart/2016/7/layout/HorizontalActionList"/>
    <dgm:cxn modelId="{46C79247-7727-4817-9EA9-AF581A69F309}" type="presOf" srcId="{B5A634A6-BF2F-4A65-8C91-4CFD66192714}" destId="{91DE953B-E35F-40EA-852D-BBD3A7D00154}" srcOrd="0" destOrd="0" presId="urn:microsoft.com/office/officeart/2016/7/layout/HorizontalActionList"/>
    <dgm:cxn modelId="{D311A975-7A34-4A40-B783-91948843A85F}" srcId="{F731DB89-C548-4EF5-9DEB-F61D61795C99}" destId="{B5A634A6-BF2F-4A65-8C91-4CFD66192714}" srcOrd="0" destOrd="0" parTransId="{CF71FF5A-50B1-499D-B5CA-CBCA553BC2A2}" sibTransId="{D6D68488-76F7-4E1B-A70C-C0B99A181125}"/>
    <dgm:cxn modelId="{952D7E56-109C-429E-8AE1-10B4A2A0F9F5}" type="presOf" srcId="{F731DB89-C548-4EF5-9DEB-F61D61795C99}" destId="{21724633-20B2-40FF-AEE1-A7D97DA187B2}" srcOrd="0" destOrd="0" presId="urn:microsoft.com/office/officeart/2016/7/layout/HorizontalActionList"/>
    <dgm:cxn modelId="{C0932179-9504-487B-A5A1-06F94AD8FDBD}" srcId="{B5A634A6-BF2F-4A65-8C91-4CFD66192714}" destId="{B0FE643B-4F70-4BFE-9DAC-6E57BD99B1F9}" srcOrd="0" destOrd="0" parTransId="{FB04DBD9-50BB-4B5B-8CDE-D9AF8BA5C148}" sibTransId="{8F0D0401-36F4-4F68-B9D2-A845D18E857B}"/>
    <dgm:cxn modelId="{60CD6CBD-F67B-4CFB-9B23-86C755451FAD}" srcId="{99F33B5C-3255-4442-80E6-3C38D5A70C28}" destId="{11E996DE-FAAD-44FB-B81F-E53533B3770B}" srcOrd="0" destOrd="0" parTransId="{62DF0FBE-F255-4A4D-B592-1F7D9D2C8A0A}" sibTransId="{41E58854-E5D2-4CAD-A6AA-3E75F5A43EF2}"/>
    <dgm:cxn modelId="{6FEC35C3-02F2-4410-A231-FB4C149835D9}" srcId="{80B3A6AD-FD10-47A2-BA3B-9BE5983484A8}" destId="{4C929864-C24E-4F87-9E05-54AC77BD2BBE}" srcOrd="0" destOrd="0" parTransId="{EB3BAB50-F9A0-43DD-9ADC-E8A39DD787EE}" sibTransId="{BB2F19CA-2806-4801-A943-B69065322A84}"/>
    <dgm:cxn modelId="{E1AF82C7-E362-4257-838A-E8C32F1594FB}" srcId="{F731DB89-C548-4EF5-9DEB-F61D61795C99}" destId="{80B3A6AD-FD10-47A2-BA3B-9BE5983484A8}" srcOrd="2" destOrd="0" parTransId="{38FBB470-A364-4CF8-B978-B548B71C6FE2}" sibTransId="{775687BB-CDAE-4E65-A8A9-BAC2E4A2394A}"/>
    <dgm:cxn modelId="{7F1E8CD7-2186-432B-9BD4-54BCF0E4B685}" type="presOf" srcId="{99F33B5C-3255-4442-80E6-3C38D5A70C28}" destId="{3C601735-07BE-42D6-B9BB-080BAE831BDB}" srcOrd="0" destOrd="0" presId="urn:microsoft.com/office/officeart/2016/7/layout/HorizontalActionList"/>
    <dgm:cxn modelId="{C21EB4EE-9A24-4989-A5F1-6141DA5ABCA1}" type="presOf" srcId="{80B3A6AD-FD10-47A2-BA3B-9BE5983484A8}" destId="{2CF73820-7DAC-47C6-A933-64A788A2C424}" srcOrd="0" destOrd="0" presId="urn:microsoft.com/office/officeart/2016/7/layout/HorizontalActionList"/>
    <dgm:cxn modelId="{7FD90767-F2FF-43F5-A8A0-032328FF6846}" type="presParOf" srcId="{21724633-20B2-40FF-AEE1-A7D97DA187B2}" destId="{8B2C58C8-DA93-4270-92F5-17936E7AEEC4}" srcOrd="0" destOrd="0" presId="urn:microsoft.com/office/officeart/2016/7/layout/HorizontalActionList"/>
    <dgm:cxn modelId="{D7CFD5E3-222A-4B3A-8758-F4070D066A3B}" type="presParOf" srcId="{8B2C58C8-DA93-4270-92F5-17936E7AEEC4}" destId="{91DE953B-E35F-40EA-852D-BBD3A7D00154}" srcOrd="0" destOrd="0" presId="urn:microsoft.com/office/officeart/2016/7/layout/HorizontalActionList"/>
    <dgm:cxn modelId="{C10F38DC-F8C0-4F35-B07A-5C6DEC6E8AF7}" type="presParOf" srcId="{8B2C58C8-DA93-4270-92F5-17936E7AEEC4}" destId="{86ABB396-64D1-4CA2-A4E6-AE247770F8DD}" srcOrd="1" destOrd="0" presId="urn:microsoft.com/office/officeart/2016/7/layout/HorizontalActionList"/>
    <dgm:cxn modelId="{C15EA451-FE70-447C-B24E-663966A6F1EC}" type="presParOf" srcId="{21724633-20B2-40FF-AEE1-A7D97DA187B2}" destId="{C85E5B09-400E-4725-BC26-5B5D700B38EA}" srcOrd="1" destOrd="0" presId="urn:microsoft.com/office/officeart/2016/7/layout/HorizontalActionList"/>
    <dgm:cxn modelId="{5BDF7AC6-4152-4D89-96E4-C4B3242C5BCD}" type="presParOf" srcId="{21724633-20B2-40FF-AEE1-A7D97DA187B2}" destId="{DE95F29C-6A0E-4A81-9C8E-CBCC60589725}" srcOrd="2" destOrd="0" presId="urn:microsoft.com/office/officeart/2016/7/layout/HorizontalActionList"/>
    <dgm:cxn modelId="{745A030B-B6B1-46BA-9F6B-C738AA58408E}" type="presParOf" srcId="{DE95F29C-6A0E-4A81-9C8E-CBCC60589725}" destId="{3C601735-07BE-42D6-B9BB-080BAE831BDB}" srcOrd="0" destOrd="0" presId="urn:microsoft.com/office/officeart/2016/7/layout/HorizontalActionList"/>
    <dgm:cxn modelId="{3D9C2BA7-9F7A-4835-BEE2-59AD6A784680}" type="presParOf" srcId="{DE95F29C-6A0E-4A81-9C8E-CBCC60589725}" destId="{3DBF377C-47DE-4115-9283-E5E4A014AE5C}" srcOrd="1" destOrd="0" presId="urn:microsoft.com/office/officeart/2016/7/layout/HorizontalActionList"/>
    <dgm:cxn modelId="{E8407D05-B509-461B-8EAE-ED0C82229244}" type="presParOf" srcId="{21724633-20B2-40FF-AEE1-A7D97DA187B2}" destId="{85B124DC-1427-4E4F-9790-5A44C8A95B92}" srcOrd="3" destOrd="0" presId="urn:microsoft.com/office/officeart/2016/7/layout/HorizontalActionList"/>
    <dgm:cxn modelId="{2E525522-1A89-44E6-9FC6-0D6D7B4F6A7E}" type="presParOf" srcId="{21724633-20B2-40FF-AEE1-A7D97DA187B2}" destId="{290A0C4B-AE89-4301-899D-5E40D5B0943A}" srcOrd="4" destOrd="0" presId="urn:microsoft.com/office/officeart/2016/7/layout/HorizontalActionList"/>
    <dgm:cxn modelId="{B81D055A-6F48-488E-A8F1-007D35912BCB}" type="presParOf" srcId="{290A0C4B-AE89-4301-899D-5E40D5B0943A}" destId="{2CF73820-7DAC-47C6-A933-64A788A2C424}" srcOrd="0" destOrd="0" presId="urn:microsoft.com/office/officeart/2016/7/layout/HorizontalActionList"/>
    <dgm:cxn modelId="{D47DCB28-2E88-4FD0-B1DA-AE810A21A308}" type="presParOf" srcId="{290A0C4B-AE89-4301-899D-5E40D5B0943A}" destId="{495ED83B-BF85-485B-90E3-A2152D0DF550}" srcOrd="1" destOrd="0" presId="urn:microsoft.com/office/officeart/2016/7/layout/HorizontalAc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DE953B-E35F-40EA-852D-BBD3A7D00154}">
      <dsp:nvSpPr>
        <dsp:cNvPr id="0" name=""/>
        <dsp:cNvSpPr/>
      </dsp:nvSpPr>
      <dsp:spPr>
        <a:xfrm>
          <a:off x="15420" y="315801"/>
          <a:ext cx="3332916" cy="896282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088" tIns="236088" rIns="236088" bIns="236088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CO2e Reduction</a:t>
          </a:r>
        </a:p>
      </dsp:txBody>
      <dsp:txXfrm>
        <a:off x="15420" y="315801"/>
        <a:ext cx="3332916" cy="896282"/>
      </dsp:txXfrm>
    </dsp:sp>
    <dsp:sp modelId="{86ABB396-64D1-4CA2-A4E6-AE247770F8DD}">
      <dsp:nvSpPr>
        <dsp:cNvPr id="0" name=""/>
        <dsp:cNvSpPr/>
      </dsp:nvSpPr>
      <dsp:spPr>
        <a:xfrm>
          <a:off x="34690" y="1207609"/>
          <a:ext cx="3341521" cy="208127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5109" tIns="295109" rIns="295109" bIns="295109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800" b="1" kern="1200" dirty="0">
              <a:solidFill>
                <a:srgbClr val="002060"/>
              </a:solidFill>
            </a:rPr>
            <a:t>Minimize CO2e by Optimized FTL  Load 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800" b="1" kern="1200" dirty="0">
              <a:solidFill>
                <a:srgbClr val="002060"/>
              </a:solidFill>
            </a:rPr>
            <a:t>Replaced Air Route with Rail Ocean ones at Order/Scheduling Time</a:t>
          </a:r>
        </a:p>
      </dsp:txBody>
      <dsp:txXfrm>
        <a:off x="34690" y="1207609"/>
        <a:ext cx="3341521" cy="2081270"/>
      </dsp:txXfrm>
    </dsp:sp>
    <dsp:sp modelId="{3C601735-07BE-42D6-B9BB-080BAE831BDB}">
      <dsp:nvSpPr>
        <dsp:cNvPr id="0" name=""/>
        <dsp:cNvSpPr/>
      </dsp:nvSpPr>
      <dsp:spPr>
        <a:xfrm>
          <a:off x="3460534" y="315801"/>
          <a:ext cx="2987609" cy="896282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088" tIns="236088" rIns="236088" bIns="236088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Air &amp; Ground</a:t>
          </a:r>
        </a:p>
      </dsp:txBody>
      <dsp:txXfrm>
        <a:off x="3460534" y="315801"/>
        <a:ext cx="2987609" cy="896282"/>
      </dsp:txXfrm>
    </dsp:sp>
    <dsp:sp modelId="{3DBF377C-47DE-4115-9283-E5E4A014AE5C}">
      <dsp:nvSpPr>
        <dsp:cNvPr id="0" name=""/>
        <dsp:cNvSpPr/>
      </dsp:nvSpPr>
      <dsp:spPr>
        <a:xfrm>
          <a:off x="3460534" y="1212083"/>
          <a:ext cx="2987609" cy="208127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5109" tIns="295109" rIns="295109" bIns="295109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2060"/>
              </a:solidFill>
            </a:rPr>
            <a:t>Air &amp; Ground trip consolidation opportunity alert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2060"/>
              </a:solidFill>
            </a:rPr>
            <a:t>CO2 Green Carrier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b="1" kern="1200" dirty="0">
            <a:solidFill>
              <a:srgbClr val="002060"/>
            </a:solidFill>
          </a:endParaRPr>
        </a:p>
      </dsp:txBody>
      <dsp:txXfrm>
        <a:off x="3460534" y="1212083"/>
        <a:ext cx="2987609" cy="2081270"/>
      </dsp:txXfrm>
    </dsp:sp>
    <dsp:sp modelId="{2CF73820-7DAC-47C6-A933-64A788A2C424}">
      <dsp:nvSpPr>
        <dsp:cNvPr id="0" name=""/>
        <dsp:cNvSpPr/>
      </dsp:nvSpPr>
      <dsp:spPr>
        <a:xfrm>
          <a:off x="6556037" y="315801"/>
          <a:ext cx="2987609" cy="896282"/>
        </a:xfrm>
        <a:prstGeom prst="rect">
          <a:avLst/>
        </a:prstGeom>
        <a:solidFill>
          <a:srgbClr val="00206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088" tIns="236088" rIns="236088" bIns="236088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Air</a:t>
          </a:r>
        </a:p>
      </dsp:txBody>
      <dsp:txXfrm>
        <a:off x="6556037" y="315801"/>
        <a:ext cx="2987609" cy="896282"/>
      </dsp:txXfrm>
    </dsp:sp>
    <dsp:sp modelId="{495ED83B-BF85-485B-90E3-A2152D0DF550}">
      <dsp:nvSpPr>
        <dsp:cNvPr id="0" name=""/>
        <dsp:cNvSpPr/>
      </dsp:nvSpPr>
      <dsp:spPr>
        <a:xfrm>
          <a:off x="6556037" y="1212083"/>
          <a:ext cx="2987609" cy="208127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5109" tIns="295109" rIns="295109" bIns="295109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2060"/>
              </a:solidFill>
            </a:rPr>
            <a:t>Air route with minimum stops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2060"/>
              </a:solidFill>
            </a:rPr>
            <a:t>Top CO2 friendly airlines</a:t>
          </a:r>
          <a:r>
            <a:rPr lang="en-US" sz="1600" b="1" kern="1200" dirty="0">
              <a:solidFill>
                <a:srgbClr val="002060"/>
              </a:solidFill>
            </a:rPr>
            <a:t> </a:t>
          </a:r>
        </a:p>
      </dsp:txBody>
      <dsp:txXfrm>
        <a:off x="6556037" y="1212083"/>
        <a:ext cx="2987609" cy="20812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HorizontalActionList">
  <dgm:title val="Horizontal Action List"/>
  <dgm:desc val="Used to show non-sequential or grouped lists of information. Works well with large amounts of text. All text has the same level of emphasis, and direction is not implied."/>
  <dgm:catLst>
    <dgm:cat type="list" pri="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 fact="0.6"/>
      <dgm:constr type="h" for="des" forName="composite" op="equ"/>
      <dgm:constr type="w" for="ch" forName="composite" refType="w"/>
      <dgm:constr type="w" for="des" forName="parTx"/>
      <dgm:constr type="h" for="des" forName="parTx" op="equ"/>
      <dgm:constr type="w" for="des" forName="desTx"/>
      <dgm:constr type="primFontSz" for="des" forName="parTx" val="54"/>
      <dgm:constr type="primFontSz" for="des" forName="desTx" refType="primFontSz" refFor="des" refForName="parTx" op="lte" fact="0.75"/>
      <dgm:constr type="h" for="des" forName="desTx" op="equ"/>
      <dgm:constr type="w" for="ch" forName="space" op="equ" val="3"/>
    </dgm:constrLst>
    <dgm:ruleLst>
      <dgm:rule type="w" for="ch" forName="composite" val="0" fact="NaN" max="NaN"/>
    </dgm:ruleLst>
    <dgm:forEach name="Name6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3"/>
            <dgm:constr type="h"/>
            <dgm:constr type="tMarg" refType="w" fact="0.224"/>
            <dgm:constr type="bMarg" refType="w" fact="0.224"/>
            <dgm:constr type="lMarg" refType="w" fact="0.224"/>
            <dgm:constr type="rMarg" refType="w" fact="0.224"/>
          </dgm:constrLst>
          <dgm:ruleLst>
            <dgm:rule type="h" val="INF" fact="NaN" max="NaN"/>
            <dgm:rule type="primFontSz" val="14" fact="NaN" max="NaN"/>
          </dgm:ruleLst>
        </dgm:layoutNode>
        <dgm:layoutNode name="desTx" styleLbl="alignAccFollowNode1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primFontSz" val="28"/>
            <dgm:constr type="tMarg" refType="w" fact="0.28"/>
            <dgm:constr type="bMarg" refType="w" fact="0.28"/>
            <dgm:constr type="lMarg" refType="w" fact="0.28"/>
            <dgm:constr type="rMarg" refType="w" fact="0.28"/>
          </dgm:constrLst>
          <dgm:ruleLst>
            <dgm:rule type="h" val="INF" fact="NaN" max="NaN"/>
            <dgm:rule type="primFontSz" val="11" fact="NaN" max="NaN"/>
          </dgm:ruleLst>
        </dgm:layoutNode>
      </dgm:layoutNode>
      <dgm:forEach name="Name19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691A08E4-1311-4359-B0A9-6839365D7D7C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5CC34664-5F55-44E3-80F2-FEF4F7BC65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212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8122ADE7-D3FD-4A99-96AE-FA71DD76D3D6}" type="datetimeFigureOut">
              <a:rPr lang="fr-FR" smtClean="0"/>
              <a:t>25/0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2FB1B064-FA52-4689-8E27-4A57E8DCD8B3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0351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i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1B064-FA52-4689-8E27-4A57E8DCD8B3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0787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338092D-F043-4BAD-A86A-EAADCE5BD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5642" y="3300290"/>
            <a:ext cx="8357490" cy="25467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400" cap="all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sz="3400" cap="all" baseline="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051039"/>
                </a:solidFill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 b="1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FB76928F-1136-4A9F-903A-3CEDC7DF4D84}"/>
              </a:ext>
            </a:extLst>
          </p:cNvPr>
          <p:cNvCxnSpPr/>
          <p:nvPr userDrawn="1"/>
        </p:nvCxnSpPr>
        <p:spPr>
          <a:xfrm>
            <a:off x="-1" y="2237930"/>
            <a:ext cx="12192001" cy="0"/>
          </a:xfrm>
          <a:prstGeom prst="line">
            <a:avLst/>
          </a:prstGeom>
          <a:ln w="19050">
            <a:solidFill>
              <a:srgbClr val="E524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633DCCE9-20D0-4C86-9B18-249B2A65FB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3072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1" name="Espace réservé pour une image  18">
            <a:extLst>
              <a:ext uri="{FF2B5EF4-FFF2-40B4-BE49-F238E27FC236}">
                <a16:creationId xmlns:a16="http://schemas.microsoft.com/office/drawing/2014/main" id="{CD0BE052-3C4C-41A0-8BAF-AB33F0DFE8B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107707" y="850577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2" name="Espace réservé pour une image  18">
            <a:extLst>
              <a:ext uri="{FF2B5EF4-FFF2-40B4-BE49-F238E27FC236}">
                <a16:creationId xmlns:a16="http://schemas.microsoft.com/office/drawing/2014/main" id="{F2CEE392-80A5-49A0-B621-DDCCA55472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6162" y="850578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3" name="Espace réservé pour une image  18">
            <a:extLst>
              <a:ext uri="{FF2B5EF4-FFF2-40B4-BE49-F238E27FC236}">
                <a16:creationId xmlns:a16="http://schemas.microsoft.com/office/drawing/2014/main" id="{38B007EF-0E9D-4BFB-A21E-D9663D9CD4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64617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Triangle rectangle 9">
            <a:extLst>
              <a:ext uri="{FF2B5EF4-FFF2-40B4-BE49-F238E27FC236}">
                <a16:creationId xmlns:a16="http://schemas.microsoft.com/office/drawing/2014/main" id="{0601DE8D-958C-4FEA-B5F4-0158C867A857}"/>
              </a:ext>
            </a:extLst>
          </p:cNvPr>
          <p:cNvSpPr/>
          <p:nvPr userDrawn="1"/>
        </p:nvSpPr>
        <p:spPr>
          <a:xfrm>
            <a:off x="-1" y="3300290"/>
            <a:ext cx="866838" cy="3589245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25" name="Group 24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30" name="Rectangle 29"/>
              <p:cNvSpPr/>
              <p:nvPr userDrawn="1"/>
            </p:nvSpPr>
            <p:spPr bwMode="auto">
              <a:xfrm>
                <a:off x="-2734593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 bwMode="auto">
              <a:xfrm>
                <a:off x="12216205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26" name="Line 9"/>
            <p:cNvSpPr>
              <a:spLocks noChangeShapeType="1"/>
            </p:cNvSpPr>
            <p:nvPr userDrawn="1"/>
          </p:nvSpPr>
          <p:spPr bwMode="auto">
            <a:xfrm flipH="1">
              <a:off x="12234177" y="5823620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7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28" name="Line 9"/>
            <p:cNvSpPr>
              <a:spLocks noChangeShapeType="1"/>
            </p:cNvSpPr>
            <p:nvPr userDrawn="1"/>
          </p:nvSpPr>
          <p:spPr bwMode="auto">
            <a:xfrm>
              <a:off x="-2221716" y="5830005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grpSp>
        <p:nvGrpSpPr>
          <p:cNvPr id="6" name="Group 5"/>
          <p:cNvGrpSpPr/>
          <p:nvPr userDrawn="1"/>
        </p:nvGrpSpPr>
        <p:grpSpPr>
          <a:xfrm>
            <a:off x="-2948448" y="-1081430"/>
            <a:ext cx="18088894" cy="8587130"/>
            <a:chOff x="-2948448" y="-1081430"/>
            <a:chExt cx="18088894" cy="8587130"/>
          </a:xfrm>
        </p:grpSpPr>
        <p:sp>
          <p:nvSpPr>
            <p:cNvPr id="40" name="Rectangle 39"/>
            <p:cNvSpPr/>
            <p:nvPr userDrawn="1"/>
          </p:nvSpPr>
          <p:spPr bwMode="auto">
            <a:xfrm>
              <a:off x="12254768" y="-627820"/>
              <a:ext cx="2734592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1" name="Rectangle 40"/>
            <p:cNvSpPr/>
            <p:nvPr userDrawn="1"/>
          </p:nvSpPr>
          <p:spPr bwMode="auto">
            <a:xfrm>
              <a:off x="-2948447" y="-1081430"/>
              <a:ext cx="18088893" cy="9072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auto">
            <a:xfrm>
              <a:off x="-2948448" y="-627820"/>
              <a:ext cx="2924241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352204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552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7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D6431BBA-32EF-4932-A62F-BC65EF98EA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3900" y="1333500"/>
            <a:ext cx="5372100" cy="4495800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Tx/>
              <a:buNone/>
              <a:defRPr lang="fr-FR" sz="2700" kern="1200" baseline="0" dirty="0" smtClean="0">
                <a:solidFill>
                  <a:srgbClr val="E1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fr-FR" sz="1400" kern="1200" dirty="0" smtClean="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Aft>
                <a:spcPts val="500"/>
              </a:spcAft>
              <a:buFontTx/>
              <a:buNone/>
              <a:defRPr sz="2700"/>
            </a:lvl3pPr>
            <a:lvl4pPr marL="230400">
              <a:lnSpc>
                <a:spcPct val="100000"/>
              </a:lnSpc>
              <a:spcAft>
                <a:spcPts val="500"/>
              </a:spcAft>
              <a:defRPr/>
            </a:lvl4pPr>
            <a:lvl5pPr marL="534988" indent="-228600">
              <a:lnSpc>
                <a:spcPct val="100000"/>
              </a:lnSpc>
              <a:spcAft>
                <a:spcPts val="5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25515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1487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1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1EC90CA6-55B6-4A98-AE83-3EEDF4B08DA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391400" y="1333500"/>
            <a:ext cx="4076700" cy="20955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 dirty="0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DC52EA71-D937-4395-BCA2-8B7B1EC95C9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391400" y="3613135"/>
            <a:ext cx="4076700" cy="221616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723900" y="1333499"/>
            <a:ext cx="6204934" cy="4477093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31606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with 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2724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5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256AC661-C807-4783-9BE9-444C7BF8BD9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339509"/>
            <a:ext cx="5458116" cy="4489792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1000"/>
              </a:spcAft>
              <a:buFontTx/>
              <a:buNone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indent="-228600">
              <a:lnSpc>
                <a:spcPct val="100000"/>
              </a:lnSpc>
              <a:spcAft>
                <a:spcPts val="500"/>
              </a:spcAft>
              <a:buClr>
                <a:srgbClr val="051039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30400" indent="-228600">
              <a:lnSpc>
                <a:spcPct val="100000"/>
              </a:lnSpc>
              <a:spcAft>
                <a:spcPts val="500"/>
              </a:spcAft>
              <a:buClr>
                <a:srgbClr val="778097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30400" indent="-228600">
              <a:lnSpc>
                <a:spcPct val="100000"/>
              </a:lnSpc>
              <a:spcAft>
                <a:spcPts val="500"/>
              </a:spcAft>
              <a:buClr>
                <a:srgbClr val="FF0000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30400" indent="-228600">
              <a:lnSpc>
                <a:spcPct val="100000"/>
              </a:lnSpc>
              <a:spcAft>
                <a:spcPts val="500"/>
              </a:spcAft>
              <a:buClr>
                <a:srgbClr val="EF7B7B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58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10" name="Rectangle 9"/>
              <p:cNvSpPr/>
              <p:nvPr userDrawn="1"/>
            </p:nvSpPr>
            <p:spPr bwMode="auto">
              <a:xfrm>
                <a:off x="-2734593" y="-154172"/>
                <a:ext cx="2734592" cy="59834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1" name="Rectangle 10"/>
              <p:cNvSpPr/>
              <p:nvPr userDrawn="1"/>
            </p:nvSpPr>
            <p:spPr bwMode="auto">
              <a:xfrm>
                <a:off x="12216205" y="-268472"/>
                <a:ext cx="2734592" cy="60977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2" name="Rectangle 11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9504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riangle rectangle 9">
            <a:extLst>
              <a:ext uri="{FF2B5EF4-FFF2-40B4-BE49-F238E27FC236}">
                <a16:creationId xmlns:a16="http://schemas.microsoft.com/office/drawing/2014/main" id="{0601DE8D-958C-4FEA-B5F4-0158C867A857}"/>
              </a:ext>
            </a:extLst>
          </p:cNvPr>
          <p:cNvSpPr/>
          <p:nvPr userDrawn="1"/>
        </p:nvSpPr>
        <p:spPr>
          <a:xfrm>
            <a:off x="0" y="5829300"/>
            <a:ext cx="266043" cy="102870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</p:spTree>
    <p:extLst>
      <p:ext uri="{BB962C8B-B14F-4D97-AF65-F5344CB8AC3E}">
        <p14:creationId xmlns:p14="http://schemas.microsoft.com/office/powerpoint/2010/main" val="324731516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115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9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EVA Machine Learning Capability Presentation – April 2020</a:t>
            </a:r>
          </a:p>
        </p:txBody>
      </p:sp>
    </p:spTree>
    <p:extLst>
      <p:ext uri="{BB962C8B-B14F-4D97-AF65-F5344CB8AC3E}">
        <p14:creationId xmlns:p14="http://schemas.microsoft.com/office/powerpoint/2010/main" val="1548422141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338092D-F043-4BAD-A86A-EAADCE5BD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5642" y="3300290"/>
            <a:ext cx="8357490" cy="25467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400" cap="all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sz="3400" cap="all" baseline="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051039"/>
                </a:solidFill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 b="1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FB76928F-1136-4A9F-903A-3CEDC7DF4D84}"/>
              </a:ext>
            </a:extLst>
          </p:cNvPr>
          <p:cNvCxnSpPr/>
          <p:nvPr userDrawn="1"/>
        </p:nvCxnSpPr>
        <p:spPr>
          <a:xfrm>
            <a:off x="-1" y="2237930"/>
            <a:ext cx="12192001" cy="0"/>
          </a:xfrm>
          <a:prstGeom prst="line">
            <a:avLst/>
          </a:prstGeom>
          <a:ln w="19050">
            <a:solidFill>
              <a:srgbClr val="E524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633DCCE9-20D0-4C86-9B18-249B2A65FB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3072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1" name="Espace réservé pour une image  18">
            <a:extLst>
              <a:ext uri="{FF2B5EF4-FFF2-40B4-BE49-F238E27FC236}">
                <a16:creationId xmlns:a16="http://schemas.microsoft.com/office/drawing/2014/main" id="{CD0BE052-3C4C-41A0-8BAF-AB33F0DFE8B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107707" y="850577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2" name="Espace réservé pour une image  18">
            <a:extLst>
              <a:ext uri="{FF2B5EF4-FFF2-40B4-BE49-F238E27FC236}">
                <a16:creationId xmlns:a16="http://schemas.microsoft.com/office/drawing/2014/main" id="{F2CEE392-80A5-49A0-B621-DDCCA55472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6162" y="850578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3" name="Espace réservé pour une image  18">
            <a:extLst>
              <a:ext uri="{FF2B5EF4-FFF2-40B4-BE49-F238E27FC236}">
                <a16:creationId xmlns:a16="http://schemas.microsoft.com/office/drawing/2014/main" id="{38B007EF-0E9D-4BFB-A21E-D9663D9CD4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64617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Triangle rectangle 9">
            <a:extLst>
              <a:ext uri="{FF2B5EF4-FFF2-40B4-BE49-F238E27FC236}">
                <a16:creationId xmlns:a16="http://schemas.microsoft.com/office/drawing/2014/main" id="{0601DE8D-958C-4FEA-B5F4-0158C867A857}"/>
              </a:ext>
            </a:extLst>
          </p:cNvPr>
          <p:cNvSpPr/>
          <p:nvPr userDrawn="1"/>
        </p:nvSpPr>
        <p:spPr>
          <a:xfrm>
            <a:off x="-1" y="3300290"/>
            <a:ext cx="866838" cy="3589245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25" name="Group 24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30" name="Rectangle 29"/>
              <p:cNvSpPr/>
              <p:nvPr userDrawn="1"/>
            </p:nvSpPr>
            <p:spPr bwMode="auto">
              <a:xfrm>
                <a:off x="-2734593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 bwMode="auto">
              <a:xfrm>
                <a:off x="12216205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26" name="Line 9"/>
            <p:cNvSpPr>
              <a:spLocks noChangeShapeType="1"/>
            </p:cNvSpPr>
            <p:nvPr userDrawn="1"/>
          </p:nvSpPr>
          <p:spPr bwMode="auto">
            <a:xfrm flipH="1">
              <a:off x="12234177" y="5823620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7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28" name="Line 9"/>
            <p:cNvSpPr>
              <a:spLocks noChangeShapeType="1"/>
            </p:cNvSpPr>
            <p:nvPr userDrawn="1"/>
          </p:nvSpPr>
          <p:spPr bwMode="auto">
            <a:xfrm>
              <a:off x="-2221716" y="5830005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grpSp>
        <p:nvGrpSpPr>
          <p:cNvPr id="6" name="Group 5"/>
          <p:cNvGrpSpPr/>
          <p:nvPr userDrawn="1"/>
        </p:nvGrpSpPr>
        <p:grpSpPr>
          <a:xfrm>
            <a:off x="-2948448" y="-1081430"/>
            <a:ext cx="18088894" cy="8587130"/>
            <a:chOff x="-2948448" y="-1081430"/>
            <a:chExt cx="18088894" cy="8587130"/>
          </a:xfrm>
        </p:grpSpPr>
        <p:sp>
          <p:nvSpPr>
            <p:cNvPr id="40" name="Rectangle 39"/>
            <p:cNvSpPr/>
            <p:nvPr userDrawn="1"/>
          </p:nvSpPr>
          <p:spPr bwMode="auto">
            <a:xfrm>
              <a:off x="12254768" y="-627820"/>
              <a:ext cx="2734592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1" name="Rectangle 40"/>
            <p:cNvSpPr/>
            <p:nvPr userDrawn="1"/>
          </p:nvSpPr>
          <p:spPr bwMode="auto">
            <a:xfrm>
              <a:off x="-2948447" y="-1081430"/>
              <a:ext cx="18088893" cy="9072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auto">
            <a:xfrm>
              <a:off x="-2948448" y="-627820"/>
              <a:ext cx="2924241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68051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10" name="Rectangle 9"/>
              <p:cNvSpPr/>
              <p:nvPr userDrawn="1"/>
            </p:nvSpPr>
            <p:spPr bwMode="auto">
              <a:xfrm>
                <a:off x="-2734593" y="-154172"/>
                <a:ext cx="2734592" cy="59834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1" name="Rectangle 10"/>
              <p:cNvSpPr/>
              <p:nvPr userDrawn="1"/>
            </p:nvSpPr>
            <p:spPr bwMode="auto">
              <a:xfrm>
                <a:off x="12216205" y="-268472"/>
                <a:ext cx="2734592" cy="60977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2" name="Rectangle 11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83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517696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ugust 202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8266ED-5171-485D-BF71-455455A971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548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7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156FECC-2C03-4DF2-8CB3-34D3A1F5A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29B404-1031-4BC8-B29E-77232E72A83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C5C995BC-027C-4DD4-A6EE-DBAE079927A7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</p:spTree>
    <p:extLst>
      <p:ext uri="{BB962C8B-B14F-4D97-AF65-F5344CB8AC3E}">
        <p14:creationId xmlns:p14="http://schemas.microsoft.com/office/powerpoint/2010/main" val="1424998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3321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58293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5" name="Title 3"/>
          <p:cNvSpPr>
            <a:spLocks noGrp="1"/>
          </p:cNvSpPr>
          <p:nvPr>
            <p:ph type="title" hasCustomPrompt="1"/>
          </p:nvPr>
        </p:nvSpPr>
        <p:spPr>
          <a:xfrm>
            <a:off x="3467100" y="3429000"/>
            <a:ext cx="6629400" cy="11430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3467100" y="4572000"/>
            <a:ext cx="6629400" cy="1143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27" name="Group 26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24" name="Rectangle 23"/>
              <p:cNvSpPr/>
              <p:nvPr userDrawn="1"/>
            </p:nvSpPr>
            <p:spPr bwMode="auto">
              <a:xfrm>
                <a:off x="-2734593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25" name="Rectangle 24"/>
              <p:cNvSpPr/>
              <p:nvPr userDrawn="1"/>
            </p:nvSpPr>
            <p:spPr bwMode="auto">
              <a:xfrm>
                <a:off x="12216205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26" name="Rectangle 25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21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23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560041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102415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250522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99505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FE4E6A-473D-4CDA-B081-F316E386C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45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1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AD825E-2DA1-4B13-ABAD-93D58C434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7564F35-DA43-4FD1-930B-5C8EB0582CD8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B296AB56-DE12-45D7-A367-54B4CFAA4EFC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</p:spTree>
    <p:extLst>
      <p:ext uri="{BB962C8B-B14F-4D97-AF65-F5344CB8AC3E}">
        <p14:creationId xmlns:p14="http://schemas.microsoft.com/office/powerpoint/2010/main" val="2274469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804700"/>
      </p:ext>
    </p:extLst>
  </p:cSld>
  <p:clrMapOvr>
    <a:masterClrMapping/>
  </p:clrMapOvr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435681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179759"/>
      </p:ext>
    </p:extLst>
  </p:cSld>
  <p:clrMapOvr>
    <a:masterClrMapping/>
  </p:clrMapOvr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466982"/>
      </p:ext>
    </p:extLst>
  </p:cSld>
  <p:clrMapOvr>
    <a:masterClrMapping/>
  </p:clrMapOvr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D7633-A1D4-427A-A599-3BDC8DE71089}" type="datetimeFigureOut">
              <a:rPr lang="en-US" smtClean="0"/>
              <a:t>2/2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3361A0-4A6F-4539-94F8-855DD676A5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1754"/>
      </p:ext>
    </p:extLst>
  </p:cSld>
  <p:clrMapOvr>
    <a:masterClrMapping/>
  </p:clrMapOvr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68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5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72C3F7FE-A6AA-4998-A544-3C5759B223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25/2022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FD02F6D-980A-4B9A-8947-DDA760F125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5778C19-6BA6-4D40-B1E9-97922D28F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B02D9113-30EF-4A87-A7FB-19A3FDFDC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8633027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633DCCE9-20D0-4C86-9B18-249B2A65FB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582929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338092D-F043-4BAD-A86A-EAADCE5BD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5642" y="3775934"/>
            <a:ext cx="8460358" cy="2053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400" cap="all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sz="3400" cap="all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accent2"/>
                </a:solidFill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6" name="Group 5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11" name="Rectangle 10"/>
              <p:cNvSpPr/>
              <p:nvPr userDrawn="1"/>
            </p:nvSpPr>
            <p:spPr bwMode="auto">
              <a:xfrm>
                <a:off x="-2734593" y="-154172"/>
                <a:ext cx="2734592" cy="59834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2" name="Rectangle 11"/>
              <p:cNvSpPr/>
              <p:nvPr userDrawn="1"/>
            </p:nvSpPr>
            <p:spPr bwMode="auto">
              <a:xfrm>
                <a:off x="12216205" y="-268472"/>
                <a:ext cx="2734592" cy="6097772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3" name="Rectangle 12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40297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338092D-F043-4BAD-A86A-EAADCE5BD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5642" y="3300290"/>
            <a:ext cx="8357490" cy="25467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400" cap="all" baseline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FontTx/>
              <a:buNone/>
              <a:defRPr sz="3400" cap="all" baseline="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rgbClr val="051039"/>
                </a:solidFill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 b="1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FB76928F-1136-4A9F-903A-3CEDC7DF4D84}"/>
              </a:ext>
            </a:extLst>
          </p:cNvPr>
          <p:cNvCxnSpPr/>
          <p:nvPr userDrawn="1"/>
        </p:nvCxnSpPr>
        <p:spPr>
          <a:xfrm>
            <a:off x="-1" y="2237930"/>
            <a:ext cx="12192001" cy="0"/>
          </a:xfrm>
          <a:prstGeom prst="line">
            <a:avLst/>
          </a:prstGeom>
          <a:ln w="19050">
            <a:solidFill>
              <a:srgbClr val="E524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633DCCE9-20D0-4C86-9B18-249B2A65FB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3072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1" name="Espace réservé pour une image  18">
            <a:extLst>
              <a:ext uri="{FF2B5EF4-FFF2-40B4-BE49-F238E27FC236}">
                <a16:creationId xmlns:a16="http://schemas.microsoft.com/office/drawing/2014/main" id="{CD0BE052-3C4C-41A0-8BAF-AB33F0DFE8B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107707" y="850577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2" name="Espace réservé pour une image  18">
            <a:extLst>
              <a:ext uri="{FF2B5EF4-FFF2-40B4-BE49-F238E27FC236}">
                <a16:creationId xmlns:a16="http://schemas.microsoft.com/office/drawing/2014/main" id="{F2CEE392-80A5-49A0-B621-DDCCA55472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6162" y="850578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3" name="Espace réservé pour une image  18">
            <a:extLst>
              <a:ext uri="{FF2B5EF4-FFF2-40B4-BE49-F238E27FC236}">
                <a16:creationId xmlns:a16="http://schemas.microsoft.com/office/drawing/2014/main" id="{38B007EF-0E9D-4BFB-A21E-D9663D9CD4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64617" y="851923"/>
            <a:ext cx="2765425" cy="1571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Triangle rectangle 9">
            <a:extLst>
              <a:ext uri="{FF2B5EF4-FFF2-40B4-BE49-F238E27FC236}">
                <a16:creationId xmlns:a16="http://schemas.microsoft.com/office/drawing/2014/main" id="{0601DE8D-958C-4FEA-B5F4-0158C867A857}"/>
              </a:ext>
            </a:extLst>
          </p:cNvPr>
          <p:cNvSpPr/>
          <p:nvPr userDrawn="1"/>
        </p:nvSpPr>
        <p:spPr>
          <a:xfrm>
            <a:off x="-1" y="3300290"/>
            <a:ext cx="866838" cy="3589245"/>
          </a:xfrm>
          <a:prstGeom prst="rt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2734593" y="-907220"/>
            <a:ext cx="17685390" cy="6800786"/>
            <a:chOff x="-2734593" y="-907220"/>
            <a:chExt cx="17685390" cy="6800786"/>
          </a:xfrm>
        </p:grpSpPr>
        <p:grpSp>
          <p:nvGrpSpPr>
            <p:cNvPr id="25" name="Group 24"/>
            <p:cNvGrpSpPr/>
            <p:nvPr userDrawn="1"/>
          </p:nvGrpSpPr>
          <p:grpSpPr>
            <a:xfrm>
              <a:off x="-2734593" y="-907220"/>
              <a:ext cx="17685390" cy="6736520"/>
              <a:chOff x="-2734593" y="-907220"/>
              <a:chExt cx="17685390" cy="6736520"/>
            </a:xfrm>
          </p:grpSpPr>
          <p:sp>
            <p:nvSpPr>
              <p:cNvPr id="30" name="Rectangle 29"/>
              <p:cNvSpPr/>
              <p:nvPr userDrawn="1"/>
            </p:nvSpPr>
            <p:spPr bwMode="auto">
              <a:xfrm>
                <a:off x="-2734593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 bwMode="auto">
              <a:xfrm>
                <a:off x="12216205" y="-907220"/>
                <a:ext cx="2734592" cy="67365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 bwMode="auto">
              <a:xfrm>
                <a:off x="-24205" y="-907220"/>
                <a:ext cx="12336707" cy="907220"/>
              </a:xfrm>
              <a:prstGeom prst="rect">
                <a:avLst/>
              </a:prstGeom>
              <a:solidFill>
                <a:srgbClr val="E6E6E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26" name="Line 9"/>
            <p:cNvSpPr>
              <a:spLocks noChangeShapeType="1"/>
            </p:cNvSpPr>
            <p:nvPr userDrawn="1"/>
          </p:nvSpPr>
          <p:spPr bwMode="auto">
            <a:xfrm flipH="1">
              <a:off x="12234177" y="5823620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7" name="Rectangle 8"/>
            <p:cNvSpPr>
              <a:spLocks noChangeArrowheads="1"/>
            </p:cNvSpPr>
            <p:nvPr userDrawn="1"/>
          </p:nvSpPr>
          <p:spPr bwMode="auto">
            <a:xfrm>
              <a:off x="14457232" y="5708900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  <p:sp>
          <p:nvSpPr>
            <p:cNvPr id="28" name="Line 9"/>
            <p:cNvSpPr>
              <a:spLocks noChangeShapeType="1"/>
            </p:cNvSpPr>
            <p:nvPr userDrawn="1"/>
          </p:nvSpPr>
          <p:spPr bwMode="auto">
            <a:xfrm>
              <a:off x="-2221716" y="5830005"/>
              <a:ext cx="213411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prstDash val="dash"/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180000" tIns="180000" rIns="180000" bIns="180000" anchor="ctr">
              <a:spAutoFit/>
            </a:bodyPr>
            <a:lstStyle/>
            <a:p>
              <a:endParaRPr lang="en-U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2594142" y="5673997"/>
              <a:ext cx="37242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US" altLang="nl-NL" sz="1200" dirty="0">
                  <a:solidFill>
                    <a:schemeClr val="accent1"/>
                  </a:solidFill>
                </a:rPr>
                <a:t>2.63</a:t>
              </a:r>
            </a:p>
          </p:txBody>
        </p:sp>
      </p:grpSp>
      <p:grpSp>
        <p:nvGrpSpPr>
          <p:cNvPr id="6" name="Group 5"/>
          <p:cNvGrpSpPr/>
          <p:nvPr userDrawn="1"/>
        </p:nvGrpSpPr>
        <p:grpSpPr>
          <a:xfrm>
            <a:off x="-2948448" y="-1081430"/>
            <a:ext cx="18088894" cy="8587130"/>
            <a:chOff x="-2948448" y="-1081430"/>
            <a:chExt cx="18088894" cy="8587130"/>
          </a:xfrm>
        </p:grpSpPr>
        <p:sp>
          <p:nvSpPr>
            <p:cNvPr id="40" name="Rectangle 39"/>
            <p:cNvSpPr/>
            <p:nvPr userDrawn="1"/>
          </p:nvSpPr>
          <p:spPr bwMode="auto">
            <a:xfrm>
              <a:off x="12254768" y="-627820"/>
              <a:ext cx="2734592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1" name="Rectangle 40"/>
            <p:cNvSpPr/>
            <p:nvPr userDrawn="1"/>
          </p:nvSpPr>
          <p:spPr bwMode="auto">
            <a:xfrm>
              <a:off x="-2948447" y="-1081430"/>
              <a:ext cx="18088893" cy="9072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auto">
            <a:xfrm>
              <a:off x="-2948448" y="-627820"/>
              <a:ext cx="2924241" cy="8133520"/>
            </a:xfrm>
            <a:prstGeom prst="rect">
              <a:avLst/>
            </a:prstGeom>
            <a:solidFill>
              <a:srgbClr val="E6E6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89065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795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EVA Machine Learning Capability Presentation – April 2020</a:t>
            </a:r>
          </a:p>
        </p:txBody>
      </p:sp>
    </p:spTree>
    <p:extLst>
      <p:ext uri="{BB962C8B-B14F-4D97-AF65-F5344CB8AC3E}">
        <p14:creationId xmlns:p14="http://schemas.microsoft.com/office/powerpoint/2010/main" val="1367985256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45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067727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548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1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3900" y="1295400"/>
            <a:ext cx="10744200" cy="4533900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EVA Machine Learning Capability Presentation – August 2021</a:t>
            </a:r>
          </a:p>
        </p:txBody>
      </p:sp>
    </p:spTree>
    <p:extLst>
      <p:ext uri="{BB962C8B-B14F-4D97-AF65-F5344CB8AC3E}">
        <p14:creationId xmlns:p14="http://schemas.microsoft.com/office/powerpoint/2010/main" val="158630717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25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5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3900" y="1333500"/>
            <a:ext cx="5270500" cy="4495800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6197600" y="1333500"/>
            <a:ext cx="5270500" cy="4495800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916871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5823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9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3900" y="1333500"/>
            <a:ext cx="5270500" cy="6136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723900" y="2171700"/>
            <a:ext cx="5270500" cy="3657600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4"/>
          </p:nvPr>
        </p:nvSpPr>
        <p:spPr>
          <a:xfrm>
            <a:off x="6197600" y="1333500"/>
            <a:ext cx="5270500" cy="6136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5"/>
          </p:nvPr>
        </p:nvSpPr>
        <p:spPr>
          <a:xfrm>
            <a:off x="6197600" y="2171700"/>
            <a:ext cx="5270500" cy="3657600"/>
          </a:xfrm>
        </p:spPr>
        <p:txBody>
          <a:bodyPr/>
          <a:lstStyle>
            <a:lvl1pPr marL="287550" indent="-285750"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311872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230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3" name="think-cell Slide" r:id="rId5" imgW="336" imgH="336" progId="TCLayout.ActiveDocument.1">
                  <p:embed/>
                </p:oleObj>
              </mc:Choice>
              <mc:Fallback>
                <p:oleObj name="think-cell Slide" r:id="rId5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D6BD240-FBBC-4284-8231-8A0771747D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3900" y="1333499"/>
            <a:ext cx="5372099" cy="4495801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1000"/>
              </a:spcAft>
              <a:buFontTx/>
              <a:buNone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400" indent="-228600">
              <a:lnSpc>
                <a:spcPct val="100000"/>
              </a:lnSpc>
              <a:spcAft>
                <a:spcPts val="500"/>
              </a:spcAft>
              <a:buClr>
                <a:srgbClr val="051039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30400" indent="-228600">
              <a:lnSpc>
                <a:spcPct val="100000"/>
              </a:lnSpc>
              <a:spcAft>
                <a:spcPts val="500"/>
              </a:spcAft>
              <a:buClr>
                <a:srgbClr val="778097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30400" indent="-228600">
              <a:lnSpc>
                <a:spcPct val="100000"/>
              </a:lnSpc>
              <a:spcAft>
                <a:spcPts val="500"/>
              </a:spcAft>
              <a:buClr>
                <a:srgbClr val="FF0000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30400" indent="-228600">
              <a:lnSpc>
                <a:spcPct val="100000"/>
              </a:lnSpc>
              <a:spcAft>
                <a:spcPts val="500"/>
              </a:spcAft>
              <a:buClr>
                <a:srgbClr val="EF7B7B"/>
              </a:buClr>
              <a:buFont typeface="Symbol" panose="05050102010706020507" pitchFamily="18" charset="2"/>
              <a:buChar char=""/>
              <a:defRPr sz="14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0C666461-6F57-4597-8C6C-4859A651F3B8}"/>
              </a:ext>
            </a:extLst>
          </p:cNvPr>
          <p:cNvSpPr txBox="1">
            <a:spLocks/>
          </p:cNvSpPr>
          <p:nvPr userDrawn="1"/>
        </p:nvSpPr>
        <p:spPr>
          <a:xfrm>
            <a:off x="5822622" y="6281667"/>
            <a:ext cx="546755" cy="334933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000"/>
              </a:lnSpc>
              <a:defRPr sz="7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185407A-5DA0-4EC0-A51A-5119A185BD71}" type="slidenum">
              <a:rPr lang="fr-FR" sz="900" smtClean="0"/>
              <a:pPr algn="ctr"/>
              <a:t>‹#›</a:t>
            </a:fld>
            <a:endParaRPr lang="fr-FR" sz="900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3724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ags" Target="../tags/tag27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2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vmlDrawing" Target="../drawings/vmlDrawing13.v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15378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22" imgW="336" imgH="336" progId="TCLayout.ActiveDocument.1">
                  <p:embed/>
                </p:oleObj>
              </mc:Choice>
              <mc:Fallback>
                <p:oleObj name="think-cell Slide" r:id="rId22" imgW="336" imgH="3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723900" y="228600"/>
            <a:ext cx="10744200" cy="850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l-NL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723900" y="1295400"/>
            <a:ext cx="10744200" cy="453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30400" lvl="1" indent="-22860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500"/>
              </a:spcAft>
              <a:buClr>
                <a:srgbClr val="051039"/>
              </a:buClr>
              <a:buFont typeface="Symbol" panose="05050102010706020507" pitchFamily="18" charset="2"/>
              <a:buChar char=""/>
            </a:pPr>
            <a:r>
              <a:rPr lang="en-US" altLang="nl-NL" dirty="0"/>
              <a:t>Click to edit Master text styles</a:t>
            </a:r>
          </a:p>
          <a:p>
            <a:pPr lvl="1"/>
            <a:r>
              <a:rPr lang="en-US" altLang="nl-NL" dirty="0"/>
              <a:t>Second level</a:t>
            </a:r>
          </a:p>
          <a:p>
            <a:pPr lvl="2"/>
            <a:r>
              <a:rPr lang="en-US" altLang="nl-NL" dirty="0"/>
              <a:t>Third level</a:t>
            </a:r>
          </a:p>
          <a:p>
            <a:pPr lvl="3"/>
            <a:r>
              <a:rPr lang="en-US" altLang="nl-NL" dirty="0"/>
              <a:t>Fourth level</a:t>
            </a:r>
          </a:p>
          <a:p>
            <a:pPr lvl="4"/>
            <a:r>
              <a:rPr lang="en-US" altLang="nl-NL" dirty="0"/>
              <a:t>Fifth level</a:t>
            </a:r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E4C53B06-4054-41E1-A243-6C2C2B6BD744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271" y="5976303"/>
            <a:ext cx="1818000" cy="879533"/>
          </a:xfrm>
          <a:prstGeom prst="rect">
            <a:avLst/>
          </a:prstGeom>
        </p:spPr>
      </p:pic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684E69B9-062D-4687-9C6C-9566E22AD4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367" y="6251475"/>
            <a:ext cx="357679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lnSpc>
                <a:spcPts val="1000"/>
              </a:lnSpc>
              <a:defRPr sz="900">
                <a:solidFill>
                  <a:srgbClr val="0510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EVA Machine Learning Capability Presentation – April 2020</a:t>
            </a:r>
          </a:p>
        </p:txBody>
      </p:sp>
      <p:sp>
        <p:nvSpPr>
          <p:cNvPr id="12" name="Triangle rectangle 9">
            <a:extLst>
              <a:ext uri="{FF2B5EF4-FFF2-40B4-BE49-F238E27FC236}">
                <a16:creationId xmlns:a16="http://schemas.microsoft.com/office/drawing/2014/main" id="{0601DE8D-958C-4FEA-B5F4-0158C867A857}"/>
              </a:ext>
            </a:extLst>
          </p:cNvPr>
          <p:cNvSpPr/>
          <p:nvPr userDrawn="1"/>
        </p:nvSpPr>
        <p:spPr>
          <a:xfrm>
            <a:off x="0" y="5829300"/>
            <a:ext cx="266043" cy="102870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365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68" r:id="rId2"/>
    <p:sldLayoutId id="2147483682" r:id="rId3"/>
    <p:sldLayoutId id="2147483687" r:id="rId4"/>
    <p:sldLayoutId id="2147483673" r:id="rId5"/>
    <p:sldLayoutId id="2147483669" r:id="rId6"/>
    <p:sldLayoutId id="2147483671" r:id="rId7"/>
    <p:sldLayoutId id="2147483672" r:id="rId8"/>
    <p:sldLayoutId id="2147483684" r:id="rId9"/>
    <p:sldLayoutId id="2147483683" r:id="rId10"/>
    <p:sldLayoutId id="2147483685" r:id="rId11"/>
    <p:sldLayoutId id="2147483688" r:id="rId12"/>
    <p:sldLayoutId id="2147483681" r:id="rId13"/>
    <p:sldLayoutId id="2147483686" r:id="rId14"/>
    <p:sldLayoutId id="2147483701" r:id="rId15"/>
    <p:sldLayoutId id="2147483702" r:id="rId16"/>
    <p:sldLayoutId id="2147483703" r:id="rId17"/>
  </p:sldLayoutIdLst>
  <p:transition spd="med"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87550" indent="-285750" algn="l" rtl="0" eaLnBrk="0" fontAlgn="base" hangingPunct="0">
        <a:lnSpc>
          <a:spcPct val="125000"/>
        </a:lnSpc>
        <a:spcBef>
          <a:spcPct val="25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13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lr>
          <a:schemeClr val="accent3"/>
        </a:buClr>
        <a:buSzPct val="120000"/>
        <a:buFont typeface="Wingdings" panose="05000000000000000000" pitchFamily="2" charset="2"/>
        <a:buChar char="§"/>
        <a:defRPr lang="en-US" altLang="nl-NL" sz="1400" kern="1200" dirty="0" smtClean="0">
          <a:solidFill>
            <a:srgbClr val="05103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lr>
          <a:schemeClr val="accent2"/>
        </a:buClr>
        <a:buChar char="o"/>
        <a:defRPr sz="14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lr>
          <a:srgbClr val="FF3C3C"/>
        </a:buClr>
        <a:buFont typeface="Arial" panose="020B0604020202020204" pitchFamily="34" charset="0"/>
        <a:buChar char="-"/>
        <a:defRPr sz="14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-"/>
        <a:defRPr sz="1400" kern="1200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pos="7512" userDrawn="1">
          <p15:clr>
            <a:srgbClr val="9FCC3B"/>
          </p15:clr>
        </p15:guide>
        <p15:guide id="4" pos="168" userDrawn="1">
          <p15:clr>
            <a:srgbClr val="9FCC3B"/>
          </p15:clr>
        </p15:guide>
        <p15:guide id="5" orient="horz" pos="144" userDrawn="1">
          <p15:clr>
            <a:srgbClr val="9FCC3B"/>
          </p15:clr>
        </p15:guide>
        <p15:guide id="6" orient="horz" pos="3672" userDrawn="1">
          <p15:clr>
            <a:srgbClr val="547EBF"/>
          </p15:clr>
        </p15:guide>
        <p15:guide id="7" pos="456" userDrawn="1">
          <p15:clr>
            <a:srgbClr val="547EBF"/>
          </p15:clr>
        </p15:guide>
        <p15:guide id="8" orient="horz" pos="816" userDrawn="1">
          <p15:clr>
            <a:srgbClr val="547EBF"/>
          </p15:clr>
        </p15:guide>
        <p15:guide id="9" orient="horz" pos="672" userDrawn="1">
          <p15:clr>
            <a:srgbClr val="547EBF"/>
          </p15:clr>
        </p15:guide>
        <p15:guide id="10" pos="7224" userDrawn="1">
          <p15:clr>
            <a:srgbClr val="547EBF"/>
          </p15:clr>
        </p15:guide>
        <p15:guide id="11" pos="3840" userDrawn="1">
          <p15:clr>
            <a:srgbClr val="F26B43"/>
          </p15:clr>
        </p15:guide>
        <p15:guide id="12" orient="horz" pos="4152" userDrawn="1">
          <p15:clr>
            <a:srgbClr val="9FCC3B"/>
          </p15:clr>
        </p15:guide>
        <p15:guide id="13" pos="6696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CE72C4-B887-48C3-84BA-3563D97F9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15378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3" name="think-cell Slide" r:id="rId18" imgW="336" imgH="336" progId="TCLayout.ActiveDocument.1">
                  <p:embed/>
                </p:oleObj>
              </mc:Choice>
              <mc:Fallback>
                <p:oleObj name="think-cell Slide" r:id="rId18" imgW="336" imgH="33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9FBC69-FE08-4247-878D-43795DC10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D9E5662-CA21-40D0-850B-064B50E5ABBA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7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679FBFAD-6072-45D2-A65C-80658B910E04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271" y="5976303"/>
            <a:ext cx="1818000" cy="879533"/>
          </a:xfrm>
          <a:prstGeom prst="rect">
            <a:avLst/>
          </a:prstGeom>
        </p:spPr>
      </p:pic>
      <p:sp>
        <p:nvSpPr>
          <p:cNvPr id="10" name="Triangle rectangle 9">
            <a:extLst>
              <a:ext uri="{FF2B5EF4-FFF2-40B4-BE49-F238E27FC236}">
                <a16:creationId xmlns:a16="http://schemas.microsoft.com/office/drawing/2014/main" id="{00F09269-D9D7-4B7E-89C8-92D46FEAAA47}"/>
              </a:ext>
            </a:extLst>
          </p:cNvPr>
          <p:cNvSpPr/>
          <p:nvPr userDrawn="1"/>
        </p:nvSpPr>
        <p:spPr>
          <a:xfrm>
            <a:off x="0" y="5829300"/>
            <a:ext cx="266043" cy="1028700"/>
          </a:xfrm>
          <a:prstGeom prst="rt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5559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12" userDrawn="1">
          <p15:clr>
            <a:srgbClr val="9FCC3B"/>
          </p15:clr>
        </p15:guide>
        <p15:guide id="2" pos="168" userDrawn="1">
          <p15:clr>
            <a:srgbClr val="9FCC3B"/>
          </p15:clr>
        </p15:guide>
        <p15:guide id="3" orient="horz" pos="144" userDrawn="1">
          <p15:clr>
            <a:srgbClr val="9FCC3B"/>
          </p15:clr>
        </p15:guide>
        <p15:guide id="4" orient="horz" pos="3672" userDrawn="1">
          <p15:clr>
            <a:srgbClr val="547EBF"/>
          </p15:clr>
        </p15:guide>
        <p15:guide id="5" pos="456" userDrawn="1">
          <p15:clr>
            <a:srgbClr val="547EBF"/>
          </p15:clr>
        </p15:guide>
        <p15:guide id="6" orient="horz" pos="816" userDrawn="1">
          <p15:clr>
            <a:srgbClr val="547EBF"/>
          </p15:clr>
        </p15:guide>
        <p15:guide id="7" orient="horz" pos="672" userDrawn="1">
          <p15:clr>
            <a:srgbClr val="547EBF"/>
          </p15:clr>
        </p15:guide>
        <p15:guide id="8" pos="7224" userDrawn="1">
          <p15:clr>
            <a:srgbClr val="547EBF"/>
          </p15:clr>
        </p15:guide>
        <p15:guide id="9" pos="3840" userDrawn="1">
          <p15:clr>
            <a:srgbClr val="F26B43"/>
          </p15:clr>
        </p15:guide>
        <p15:guide id="10" orient="horz" pos="4152" userDrawn="1">
          <p15:clr>
            <a:srgbClr val="9FCC3B"/>
          </p15:clr>
        </p15:guide>
        <p15:guide id="11" pos="6696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0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9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6.png"/><Relationship Id="rId4" Type="http://schemas.openxmlformats.org/officeDocument/2006/relationships/diagramLayout" Target="../diagrams/layout1.xml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0.xml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AF4CCB-14D6-4EF3-9B6E-549D2B3F2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428" y="6492875"/>
            <a:ext cx="4598846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40B83A"/>
                </a:solidFill>
              </a:rPr>
              <a:t>CEVA Machine Learning Capability Pres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FEF038-1F5F-41B2-8B8E-7A5E6EEB0BC5}"/>
              </a:ext>
            </a:extLst>
          </p:cNvPr>
          <p:cNvSpPr txBox="1"/>
          <p:nvPr/>
        </p:nvSpPr>
        <p:spPr>
          <a:xfrm>
            <a:off x="4255669" y="1662040"/>
            <a:ext cx="326167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07693D"/>
                </a:solidFill>
              </a:rPr>
              <a:t>Now</a:t>
            </a:r>
          </a:p>
          <a:p>
            <a:pPr algn="ctr"/>
            <a:r>
              <a:rPr lang="en-US" sz="3600" b="1" dirty="0">
                <a:solidFill>
                  <a:srgbClr val="07693D"/>
                </a:solidFill>
              </a:rPr>
              <a:t>Knows</a:t>
            </a:r>
          </a:p>
          <a:p>
            <a:pPr algn="ctr"/>
            <a:r>
              <a:rPr lang="en-US" sz="6000" b="1" dirty="0">
                <a:solidFill>
                  <a:srgbClr val="07693D"/>
                </a:solidFill>
              </a:rPr>
              <a:t>Green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45B95B-AC80-4C3B-B6F6-6A36E455ECDA}"/>
              </a:ext>
            </a:extLst>
          </p:cNvPr>
          <p:cNvGrpSpPr/>
          <p:nvPr/>
        </p:nvGrpSpPr>
        <p:grpSpPr>
          <a:xfrm>
            <a:off x="1684804" y="3181560"/>
            <a:ext cx="2198482" cy="2073708"/>
            <a:chOff x="2757827" y="3807684"/>
            <a:chExt cx="1661285" cy="1661285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8619635-3D5F-4DF3-9B55-1A2FACFD8FBD}"/>
                </a:ext>
              </a:extLst>
            </p:cNvPr>
            <p:cNvGrpSpPr/>
            <p:nvPr/>
          </p:nvGrpSpPr>
          <p:grpSpPr>
            <a:xfrm>
              <a:off x="2757827" y="3807684"/>
              <a:ext cx="1661285" cy="1661285"/>
              <a:chOff x="4217300" y="2446155"/>
              <a:chExt cx="1661285" cy="1661285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FB8EEBE6-D1CC-480B-88F9-7790BF0AFC05}"/>
                  </a:ext>
                </a:extLst>
              </p:cNvPr>
              <p:cNvSpPr/>
              <p:nvPr/>
            </p:nvSpPr>
            <p:spPr>
              <a:xfrm>
                <a:off x="4217300" y="2446155"/>
                <a:ext cx="1661285" cy="1661285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76200">
                <a:solidFill>
                  <a:srgbClr val="002060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5" name="Oval 4">
                <a:extLst>
                  <a:ext uri="{FF2B5EF4-FFF2-40B4-BE49-F238E27FC236}">
                    <a16:creationId xmlns:a16="http://schemas.microsoft.com/office/drawing/2014/main" id="{DC4AC053-F10E-463A-96E2-301F32BD352C}"/>
                  </a:ext>
                </a:extLst>
              </p:cNvPr>
              <p:cNvSpPr txBox="1"/>
              <p:nvPr/>
            </p:nvSpPr>
            <p:spPr>
              <a:xfrm>
                <a:off x="4460590" y="2689445"/>
                <a:ext cx="1174705" cy="117470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000" b="1" kern="1200" dirty="0">
                  <a:solidFill>
                    <a:srgbClr val="002060"/>
                  </a:solidFill>
                </a:endParaRPr>
              </a:p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2800" b="1" kern="1200" dirty="0">
                  <a:solidFill>
                    <a:srgbClr val="002060"/>
                  </a:solidFill>
                </a:endParaRPr>
              </a:p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400" b="1" kern="1200" dirty="0">
                    <a:solidFill>
                      <a:srgbClr val="002060"/>
                    </a:solidFill>
                  </a:rPr>
                  <a:t>Supply Chain</a:t>
                </a: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785C9C4-B78A-41B7-8BD7-F69C9C9021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025029" y="4251168"/>
              <a:ext cx="1132364" cy="237403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3EF2500-88BD-4940-9A93-94BB103CA5C2}"/>
                </a:ext>
              </a:extLst>
            </p:cNvPr>
            <p:cNvSpPr/>
            <p:nvPr/>
          </p:nvSpPr>
          <p:spPr>
            <a:xfrm flipH="1">
              <a:off x="2862163" y="4457276"/>
              <a:ext cx="1393506" cy="46166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2400" b="1" cap="none" spc="50" dirty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Smart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FC0D5FD9-3F9E-43F7-90B0-D0BB903D6E54}"/>
              </a:ext>
            </a:extLst>
          </p:cNvPr>
          <p:cNvSpPr txBox="1"/>
          <p:nvPr/>
        </p:nvSpPr>
        <p:spPr>
          <a:xfrm>
            <a:off x="5049954" y="3790454"/>
            <a:ext cx="159210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>
                <a:solidFill>
                  <a:srgbClr val="07693D"/>
                </a:solidFill>
              </a:rPr>
              <a:t>Presenting</a:t>
            </a:r>
          </a:p>
          <a:p>
            <a:pPr algn="ctr"/>
            <a:r>
              <a:rPr lang="en-US" sz="2400" dirty="0">
                <a:solidFill>
                  <a:srgbClr val="07693D"/>
                </a:solidFill>
              </a:rPr>
              <a:t>By</a:t>
            </a:r>
          </a:p>
          <a:p>
            <a:pPr algn="ctr"/>
            <a:r>
              <a:rPr lang="en-US" sz="2400" dirty="0">
                <a:solidFill>
                  <a:srgbClr val="07693D"/>
                </a:solidFill>
              </a:rPr>
              <a:t>Daphne Liu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C2B68F4-2D6D-45A7-AFDB-59ABF3FFADED}"/>
              </a:ext>
            </a:extLst>
          </p:cNvPr>
          <p:cNvSpPr/>
          <p:nvPr/>
        </p:nvSpPr>
        <p:spPr>
          <a:xfrm>
            <a:off x="7933588" y="3157050"/>
            <a:ext cx="2151943" cy="2061077"/>
          </a:xfrm>
          <a:prstGeom prst="ellipse">
            <a:avLst/>
          </a:prstGeom>
          <a:solidFill>
            <a:srgbClr val="FCFFD1"/>
          </a:solidFill>
          <a:ln w="76200">
            <a:solidFill>
              <a:srgbClr val="07693D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B9F533D-5848-4758-BAAD-A492FD553272}"/>
              </a:ext>
            </a:extLst>
          </p:cNvPr>
          <p:cNvGrpSpPr/>
          <p:nvPr/>
        </p:nvGrpSpPr>
        <p:grpSpPr>
          <a:xfrm>
            <a:off x="8081358" y="3964371"/>
            <a:ext cx="1933822" cy="530753"/>
            <a:chOff x="8163957" y="2296958"/>
            <a:chExt cx="3664865" cy="976442"/>
          </a:xfrm>
        </p:grpSpPr>
        <p:pic>
          <p:nvPicPr>
            <p:cNvPr id="8" name="Picture 7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BBA6965E-B6FB-4625-86F9-949324694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50000"/>
                      </a14:imgEffect>
                      <a14:imgEffect>
                        <a14:brightnessContrast brigh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63957" y="2296958"/>
              <a:ext cx="1687611" cy="934742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EA58CDF-4789-45CE-A0DD-91561F030178}"/>
                </a:ext>
              </a:extLst>
            </p:cNvPr>
            <p:cNvSpPr txBox="1"/>
            <p:nvPr/>
          </p:nvSpPr>
          <p:spPr>
            <a:xfrm>
              <a:off x="9815574" y="2593929"/>
              <a:ext cx="2013248" cy="6794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07693D"/>
                  </a:solidFill>
                </a:rPr>
                <a:t>e-aware</a:t>
              </a:r>
            </a:p>
          </p:txBody>
        </p:sp>
      </p:grp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53887F03-AD64-472A-9A35-30D422A46B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160" y="673951"/>
            <a:ext cx="3495675" cy="101917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63C3136-7E4D-4F40-B7B9-15A61C3D0D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18004" y="3911404"/>
            <a:ext cx="1025350" cy="311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27134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04A27EEB-8523-4924-B232-1F9BAEBB19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7634" y="3844801"/>
            <a:ext cx="6737172" cy="251918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4137AEE6-9B92-4195-9296-03E5DFEEC422}"/>
              </a:ext>
            </a:extLst>
          </p:cNvPr>
          <p:cNvSpPr/>
          <p:nvPr/>
        </p:nvSpPr>
        <p:spPr>
          <a:xfrm>
            <a:off x="1401663" y="2220477"/>
            <a:ext cx="2151943" cy="2061077"/>
          </a:xfrm>
          <a:prstGeom prst="ellipse">
            <a:avLst/>
          </a:prstGeom>
          <a:solidFill>
            <a:srgbClr val="FCFFD1"/>
          </a:solidFill>
          <a:ln w="76200">
            <a:solidFill>
              <a:srgbClr val="07693D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579F95A-9F6B-42C7-B3AE-C468B0E1D1C1}"/>
              </a:ext>
            </a:extLst>
          </p:cNvPr>
          <p:cNvGrpSpPr/>
          <p:nvPr/>
        </p:nvGrpSpPr>
        <p:grpSpPr>
          <a:xfrm>
            <a:off x="1549433" y="3027798"/>
            <a:ext cx="1933822" cy="530753"/>
            <a:chOff x="8163957" y="2296958"/>
            <a:chExt cx="3664865" cy="976442"/>
          </a:xfrm>
        </p:grpSpPr>
        <p:pic>
          <p:nvPicPr>
            <p:cNvPr id="6" name="Picture 5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FE184CD7-31E9-43D2-BAED-ED911FEE1A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50000"/>
                      </a14:imgEffect>
                      <a14:imgEffect>
                        <a14:brightnessContrast brigh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63957" y="2296958"/>
              <a:ext cx="1687611" cy="934742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41E2FDC-43B4-4F31-A84B-0C0812E9FDCD}"/>
                </a:ext>
              </a:extLst>
            </p:cNvPr>
            <p:cNvSpPr txBox="1"/>
            <p:nvPr/>
          </p:nvSpPr>
          <p:spPr>
            <a:xfrm>
              <a:off x="9815574" y="2593929"/>
              <a:ext cx="2013248" cy="6794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07693D"/>
                  </a:solidFill>
                </a:rPr>
                <a:t>e-aware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6F37BDF7-CC24-4400-BBE5-C4149C2095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67007" y="2959251"/>
            <a:ext cx="1062322" cy="322590"/>
          </a:xfrm>
          <a:prstGeom prst="rect">
            <a:avLst/>
          </a:prstGeom>
        </p:spPr>
      </p:pic>
      <p:sp>
        <p:nvSpPr>
          <p:cNvPr id="19" name="Arrow: Right 18">
            <a:extLst>
              <a:ext uri="{FF2B5EF4-FFF2-40B4-BE49-F238E27FC236}">
                <a16:creationId xmlns:a16="http://schemas.microsoft.com/office/drawing/2014/main" id="{FB98D348-4330-4D0E-9FB4-4D797122DC2D}"/>
              </a:ext>
            </a:extLst>
          </p:cNvPr>
          <p:cNvSpPr/>
          <p:nvPr/>
        </p:nvSpPr>
        <p:spPr>
          <a:xfrm>
            <a:off x="7514561" y="2915176"/>
            <a:ext cx="569911" cy="596729"/>
          </a:xfrm>
          <a:prstGeom prst="rightArrow">
            <a:avLst/>
          </a:prstGeom>
          <a:solidFill>
            <a:srgbClr val="07693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highlight>
                <a:srgbClr val="1BA991"/>
              </a:highlight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BE362018-7E64-4EBD-AD37-59915548AAE7}"/>
              </a:ext>
            </a:extLst>
          </p:cNvPr>
          <p:cNvSpPr/>
          <p:nvPr/>
        </p:nvSpPr>
        <p:spPr>
          <a:xfrm>
            <a:off x="4037559" y="2930809"/>
            <a:ext cx="569911" cy="596729"/>
          </a:xfrm>
          <a:prstGeom prst="rightArrow">
            <a:avLst/>
          </a:prstGeom>
          <a:solidFill>
            <a:srgbClr val="07693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highlight>
                <a:srgbClr val="1BA991"/>
              </a:highlight>
            </a:endParaRPr>
          </a:p>
        </p:txBody>
      </p:sp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AF9A35A2-0D3B-48B2-B129-9718545B6A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889" y="450148"/>
            <a:ext cx="1905783" cy="66624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D1813AB-739F-4B2A-82C6-22F9F796FD51}"/>
              </a:ext>
            </a:extLst>
          </p:cNvPr>
          <p:cNvSpPr txBox="1"/>
          <p:nvPr/>
        </p:nvSpPr>
        <p:spPr>
          <a:xfrm>
            <a:off x="2428672" y="326480"/>
            <a:ext cx="227813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7693D"/>
                </a:solidFill>
              </a:rPr>
              <a:t>GREEN COPONENT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0B0803A-D143-46E2-BA66-6B70E8ACD64C}"/>
              </a:ext>
            </a:extLst>
          </p:cNvPr>
          <p:cNvGrpSpPr/>
          <p:nvPr/>
        </p:nvGrpSpPr>
        <p:grpSpPr>
          <a:xfrm>
            <a:off x="10019666" y="358079"/>
            <a:ext cx="2172334" cy="753620"/>
            <a:chOff x="741329" y="1373164"/>
            <a:chExt cx="2172334" cy="753620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3E490A4-A5F7-48A5-9CF1-7C0CC01F7768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69E2FC86-0205-4C50-83CB-7087125279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CD3C9B2-0132-4CFA-80B8-DB7B484ECAF7}"/>
              </a:ext>
            </a:extLst>
          </p:cNvPr>
          <p:cNvGrpSpPr/>
          <p:nvPr/>
        </p:nvGrpSpPr>
        <p:grpSpPr>
          <a:xfrm>
            <a:off x="4970814" y="2158680"/>
            <a:ext cx="2151943" cy="2061077"/>
            <a:chOff x="4970814" y="2158680"/>
            <a:chExt cx="2151943" cy="2061077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1BA8671-5F3D-40E3-8359-8B2149508B31}"/>
                </a:ext>
              </a:extLst>
            </p:cNvPr>
            <p:cNvSpPr/>
            <p:nvPr/>
          </p:nvSpPr>
          <p:spPr>
            <a:xfrm>
              <a:off x="4970814" y="2158680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958B24E-36B6-4ACA-93AF-3A3486C9E0E2}"/>
                </a:ext>
              </a:extLst>
            </p:cNvPr>
            <p:cNvGrpSpPr/>
            <p:nvPr/>
          </p:nvGrpSpPr>
          <p:grpSpPr>
            <a:xfrm>
              <a:off x="5214651" y="2802807"/>
              <a:ext cx="1762698" cy="980821"/>
              <a:chOff x="5258145" y="3173216"/>
              <a:chExt cx="2346819" cy="1301010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21F70C6-60CA-427C-9D1C-0EBA2D792762}"/>
                  </a:ext>
                </a:extLst>
              </p:cNvPr>
              <p:cNvSpPr txBox="1"/>
              <p:nvPr/>
            </p:nvSpPr>
            <p:spPr>
              <a:xfrm>
                <a:off x="5258145" y="3657726"/>
                <a:ext cx="2346819" cy="816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rgbClr val="07693D"/>
                    </a:solidFill>
                  </a:rPr>
                  <a:t>Knows Co2</a:t>
                </a:r>
              </a:p>
              <a:p>
                <a:pPr algn="ctr"/>
                <a:r>
                  <a:rPr lang="en-US" b="1" dirty="0">
                    <a:solidFill>
                      <a:srgbClr val="07693D"/>
                    </a:solidFill>
                  </a:rPr>
                  <a:t>Co2 Intelligence</a:t>
                </a:r>
              </a:p>
            </p:txBody>
          </p: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7F0D605E-A5A5-4888-A1BD-CAA18F7D35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357446" y="3173216"/>
                <a:ext cx="1944794" cy="590566"/>
              </a:xfrm>
              <a:prstGeom prst="rect">
                <a:avLst/>
              </a:prstGeom>
            </p:spPr>
          </p:pic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AD147EB-C9AC-4B1F-B884-DFEC0D6A760B}"/>
              </a:ext>
            </a:extLst>
          </p:cNvPr>
          <p:cNvGrpSpPr/>
          <p:nvPr/>
        </p:nvGrpSpPr>
        <p:grpSpPr>
          <a:xfrm>
            <a:off x="8457256" y="2158680"/>
            <a:ext cx="2478964" cy="2061077"/>
            <a:chOff x="8457256" y="2158680"/>
            <a:chExt cx="2478964" cy="2061077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C3ED4FD-44CB-4CF4-98B9-7ADB50E6C4E7}"/>
                </a:ext>
              </a:extLst>
            </p:cNvPr>
            <p:cNvSpPr/>
            <p:nvPr/>
          </p:nvSpPr>
          <p:spPr>
            <a:xfrm>
              <a:off x="8457256" y="2158680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68C225DC-3953-4D95-83F7-296F71467931}"/>
                </a:ext>
              </a:extLst>
            </p:cNvPr>
            <p:cNvGrpSpPr/>
            <p:nvPr/>
          </p:nvGrpSpPr>
          <p:grpSpPr>
            <a:xfrm>
              <a:off x="8605912" y="2660243"/>
              <a:ext cx="2330308" cy="1153971"/>
              <a:chOff x="5611334" y="742367"/>
              <a:chExt cx="2330308" cy="1153971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AC16D27-203F-4449-9C5A-C3159F55DEB7}"/>
                  </a:ext>
                </a:extLst>
              </p:cNvPr>
              <p:cNvGrpSpPr/>
              <p:nvPr/>
            </p:nvGrpSpPr>
            <p:grpSpPr>
              <a:xfrm>
                <a:off x="5611334" y="742367"/>
                <a:ext cx="1870564" cy="830997"/>
                <a:chOff x="632720" y="1284355"/>
                <a:chExt cx="1870564" cy="830997"/>
              </a:xfrm>
            </p:grpSpPr>
            <p:pic>
              <p:nvPicPr>
                <p:cNvPr id="15" name="Picture 14" descr="A picture containing text&#10;&#10;Description automatically generated">
                  <a:extLst>
                    <a:ext uri="{FF2B5EF4-FFF2-40B4-BE49-F238E27FC236}">
                      <a16:creationId xmlns:a16="http://schemas.microsoft.com/office/drawing/2014/main" id="{61980B41-4F88-4F71-AC1C-7869B168BE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brightnessContrast bright="-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2720" y="1334693"/>
                  <a:ext cx="1468890" cy="637988"/>
                </a:xfrm>
                <a:prstGeom prst="rect">
                  <a:avLst/>
                </a:prstGeom>
              </p:spPr>
            </p:pic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1F87DBAD-2B8A-44B9-95F0-D406F323EC2E}"/>
                    </a:ext>
                  </a:extLst>
                </p:cNvPr>
                <p:cNvSpPr/>
                <p:nvPr/>
              </p:nvSpPr>
              <p:spPr>
                <a:xfrm>
                  <a:off x="2009238" y="1284355"/>
                  <a:ext cx="494046" cy="830997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ctr"/>
                  <a:r>
                    <a:rPr lang="en-US" sz="4800" b="1" cap="none" spc="0" dirty="0">
                      <a:ln w="0"/>
                      <a:solidFill>
                        <a:srgbClr val="065A34"/>
                      </a:solidFill>
                      <a:effectLst>
                        <a:outerShdw blurRad="38100" dist="19050" dir="2700000" algn="tl" rotWithShape="0">
                          <a:schemeClr val="dk1">
                            <a:alpha val="40000"/>
                          </a:schemeClr>
                        </a:outerShdw>
                      </a:effectLst>
                    </a:rPr>
                    <a:t>e</a:t>
                  </a:r>
                </a:p>
              </p:txBody>
            </p:sp>
          </p:grp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0A0ED03-A378-47E8-8089-135C0458537D}"/>
                  </a:ext>
                </a:extLst>
              </p:cNvPr>
              <p:cNvSpPr txBox="1"/>
              <p:nvPr/>
            </p:nvSpPr>
            <p:spPr>
              <a:xfrm>
                <a:off x="5619456" y="1311563"/>
                <a:ext cx="2322186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3200" b="1" cap="none" spc="0" dirty="0">
                    <a:ln w="0"/>
                    <a:solidFill>
                      <a:srgbClr val="065A34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Discovery</a:t>
                </a:r>
                <a:endParaRPr lang="en-US" sz="32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1299091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669AEBDA-CD42-4BF3-B824-08E4792B8F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7749723"/>
              </p:ext>
            </p:extLst>
          </p:nvPr>
        </p:nvGraphicFramePr>
        <p:xfrm>
          <a:off x="1873420" y="2703598"/>
          <a:ext cx="9554765" cy="36091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4CFA006D-15AB-4C18-A306-8C79FC3E2B9F}"/>
              </a:ext>
            </a:extLst>
          </p:cNvPr>
          <p:cNvGrpSpPr/>
          <p:nvPr/>
        </p:nvGrpSpPr>
        <p:grpSpPr>
          <a:xfrm>
            <a:off x="572046" y="258233"/>
            <a:ext cx="2151943" cy="2061077"/>
            <a:chOff x="711217" y="501425"/>
            <a:chExt cx="2151943" cy="2061077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14BA0EC-79DD-4458-BA57-416AFB2C1F01}"/>
                </a:ext>
              </a:extLst>
            </p:cNvPr>
            <p:cNvSpPr/>
            <p:nvPr/>
          </p:nvSpPr>
          <p:spPr>
            <a:xfrm>
              <a:off x="711217" y="501425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C3FBBEF-0E26-4AFD-B974-62C2631851C1}"/>
                </a:ext>
              </a:extLst>
            </p:cNvPr>
            <p:cNvGrpSpPr/>
            <p:nvPr/>
          </p:nvGrpSpPr>
          <p:grpSpPr>
            <a:xfrm>
              <a:off x="858987" y="1308746"/>
              <a:ext cx="1933822" cy="530753"/>
              <a:chOff x="8163957" y="2296958"/>
              <a:chExt cx="3664865" cy="976442"/>
            </a:xfrm>
          </p:grpSpPr>
          <p:pic>
            <p:nvPicPr>
              <p:cNvPr id="45" name="Picture 44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A3E5DA3F-B0D5-42FC-BB2E-27C08FEB6E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sharpenSoften amount="-50000"/>
                        </a14:imgEffect>
                        <a14:imgEffect>
                          <a14:brightnessContrast brigh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63957" y="2296958"/>
                <a:ext cx="1687611" cy="934742"/>
              </a:xfrm>
              <a:prstGeom prst="rect">
                <a:avLst/>
              </a:prstGeom>
            </p:spPr>
          </p:pic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5FB71EBC-6670-4CAD-8872-BB355DA94F80}"/>
                  </a:ext>
                </a:extLst>
              </p:cNvPr>
              <p:cNvSpPr txBox="1"/>
              <p:nvPr/>
            </p:nvSpPr>
            <p:spPr>
              <a:xfrm>
                <a:off x="9815574" y="2593929"/>
                <a:ext cx="2013248" cy="6794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rgbClr val="07693D"/>
                    </a:solidFill>
                  </a:rPr>
                  <a:t>e-aware</a:t>
                </a:r>
              </a:p>
            </p:txBody>
          </p:sp>
        </p:grp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FD28C90F-EF5F-4908-BD6B-2A6855C5D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576561" y="1240199"/>
              <a:ext cx="1062322" cy="322590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40100AC-6A1B-46E1-B163-6798681C7418}"/>
              </a:ext>
            </a:extLst>
          </p:cNvPr>
          <p:cNvGrpSpPr/>
          <p:nvPr/>
        </p:nvGrpSpPr>
        <p:grpSpPr>
          <a:xfrm>
            <a:off x="10019666" y="358079"/>
            <a:ext cx="2172334" cy="753620"/>
            <a:chOff x="741329" y="1373164"/>
            <a:chExt cx="2172334" cy="753620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6B701A4-6CEE-4FC2-8670-5BAFBFF08A67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5377162F-BB03-401E-99E0-002B191572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744C3A82-9820-4ECE-B8E1-CB7F060375AA}"/>
              </a:ext>
            </a:extLst>
          </p:cNvPr>
          <p:cNvSpPr txBox="1"/>
          <p:nvPr/>
        </p:nvSpPr>
        <p:spPr>
          <a:xfrm>
            <a:off x="4797835" y="1856714"/>
            <a:ext cx="4283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7693D"/>
                </a:solidFill>
              </a:rPr>
              <a:t>OUR APPROACH</a:t>
            </a:r>
          </a:p>
        </p:txBody>
      </p:sp>
      <p:pic>
        <p:nvPicPr>
          <p:cNvPr id="12" name="Graphic 11" descr="Leaf with solid fill">
            <a:extLst>
              <a:ext uri="{FF2B5EF4-FFF2-40B4-BE49-F238E27FC236}">
                <a16:creationId xmlns:a16="http://schemas.microsoft.com/office/drawing/2014/main" id="{077C60B1-0C65-4CF0-A625-FB001891DE0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08123" y="3911209"/>
            <a:ext cx="428707" cy="428707"/>
          </a:xfrm>
          <a:prstGeom prst="rect">
            <a:avLst/>
          </a:prstGeom>
        </p:spPr>
      </p:pic>
      <p:pic>
        <p:nvPicPr>
          <p:cNvPr id="26" name="Graphic 25" descr="Leaf with solid fill">
            <a:extLst>
              <a:ext uri="{FF2B5EF4-FFF2-40B4-BE49-F238E27FC236}">
                <a16:creationId xmlns:a16="http://schemas.microsoft.com/office/drawing/2014/main" id="{B9014661-D6AC-450C-B5B7-6448FC0E073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873420" y="4541849"/>
            <a:ext cx="428707" cy="428707"/>
          </a:xfrm>
          <a:prstGeom prst="rect">
            <a:avLst/>
          </a:prstGeom>
        </p:spPr>
      </p:pic>
      <p:pic>
        <p:nvPicPr>
          <p:cNvPr id="27" name="Graphic 26" descr="Leaf with solid fill">
            <a:extLst>
              <a:ext uri="{FF2B5EF4-FFF2-40B4-BE49-F238E27FC236}">
                <a16:creationId xmlns:a16="http://schemas.microsoft.com/office/drawing/2014/main" id="{6E89F537-7802-45CC-992A-97661DCAE00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270650" y="3975630"/>
            <a:ext cx="428707" cy="428707"/>
          </a:xfrm>
          <a:prstGeom prst="rect">
            <a:avLst/>
          </a:prstGeom>
        </p:spPr>
      </p:pic>
      <p:pic>
        <p:nvPicPr>
          <p:cNvPr id="28" name="Graphic 27" descr="Leaf with solid fill">
            <a:extLst>
              <a:ext uri="{FF2B5EF4-FFF2-40B4-BE49-F238E27FC236}">
                <a16:creationId xmlns:a16="http://schemas.microsoft.com/office/drawing/2014/main" id="{860C9DF5-86F4-4DDE-83FF-33D256ABC0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270650" y="4800072"/>
            <a:ext cx="428707" cy="428707"/>
          </a:xfrm>
          <a:prstGeom prst="rect">
            <a:avLst/>
          </a:prstGeom>
        </p:spPr>
      </p:pic>
      <p:pic>
        <p:nvPicPr>
          <p:cNvPr id="29" name="Graphic 28" descr="Leaf with solid fill">
            <a:extLst>
              <a:ext uri="{FF2B5EF4-FFF2-40B4-BE49-F238E27FC236}">
                <a16:creationId xmlns:a16="http://schemas.microsoft.com/office/drawing/2014/main" id="{DCFF6678-735F-43DB-8F85-E00874FAF0F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18823" y="3915934"/>
            <a:ext cx="428707" cy="428707"/>
          </a:xfrm>
          <a:prstGeom prst="rect">
            <a:avLst/>
          </a:prstGeom>
        </p:spPr>
      </p:pic>
      <p:pic>
        <p:nvPicPr>
          <p:cNvPr id="30" name="Graphic 29" descr="Leaf with solid fill">
            <a:extLst>
              <a:ext uri="{FF2B5EF4-FFF2-40B4-BE49-F238E27FC236}">
                <a16:creationId xmlns:a16="http://schemas.microsoft.com/office/drawing/2014/main" id="{C5E22A5A-EE09-4E49-87E4-9AE4DF730C4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11287" y="4585718"/>
            <a:ext cx="428707" cy="42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521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422E7A3-F429-4007-A227-314F32691932}"/>
              </a:ext>
            </a:extLst>
          </p:cNvPr>
          <p:cNvGrpSpPr/>
          <p:nvPr/>
        </p:nvGrpSpPr>
        <p:grpSpPr>
          <a:xfrm>
            <a:off x="252332" y="80086"/>
            <a:ext cx="2151943" cy="2061077"/>
            <a:chOff x="4469692" y="336795"/>
            <a:chExt cx="2151943" cy="2061077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640F3838-9297-4D76-A362-90A7FD03C7BE}"/>
                </a:ext>
              </a:extLst>
            </p:cNvPr>
            <p:cNvSpPr/>
            <p:nvPr/>
          </p:nvSpPr>
          <p:spPr>
            <a:xfrm>
              <a:off x="4469692" y="336795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92C9F1F-BE1E-46E0-89D5-4FBB828780C2}"/>
                </a:ext>
              </a:extLst>
            </p:cNvPr>
            <p:cNvGrpSpPr/>
            <p:nvPr/>
          </p:nvGrpSpPr>
          <p:grpSpPr>
            <a:xfrm>
              <a:off x="4617462" y="1173299"/>
              <a:ext cx="1933822" cy="530753"/>
              <a:chOff x="8163957" y="2296958"/>
              <a:chExt cx="3664865" cy="976442"/>
            </a:xfrm>
          </p:grpSpPr>
          <p:pic>
            <p:nvPicPr>
              <p:cNvPr id="24" name="Picture 23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4E5A80EB-2486-427C-9596-0C226FB8E8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sharpenSoften amount="-50000"/>
                        </a14:imgEffect>
                        <a14:imgEffect>
                          <a14:brightnessContrast brigh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63957" y="2296958"/>
                <a:ext cx="1687611" cy="934742"/>
              </a:xfrm>
              <a:prstGeom prst="rect">
                <a:avLst/>
              </a:prstGeom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B5B8D61C-D91E-4ABA-BAF3-E50867B58C1A}"/>
                  </a:ext>
                </a:extLst>
              </p:cNvPr>
              <p:cNvSpPr txBox="1"/>
              <p:nvPr/>
            </p:nvSpPr>
            <p:spPr>
              <a:xfrm>
                <a:off x="9815574" y="2593929"/>
                <a:ext cx="2013248" cy="6794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rgbClr val="07693D"/>
                    </a:solidFill>
                  </a:rPr>
                  <a:t>e-aware</a:t>
                </a:r>
              </a:p>
            </p:txBody>
          </p:sp>
        </p:grp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C06BFE54-35DF-4421-897F-A2BD4F3E2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5036" y="1104752"/>
              <a:ext cx="1062322" cy="322590"/>
            </a:xfrm>
            <a:prstGeom prst="rect">
              <a:avLst/>
            </a:prstGeom>
          </p:spPr>
        </p:pic>
      </p:grp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F0345C7F-36EF-4C9E-ACC5-12C549B5C3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7676" y="3259904"/>
            <a:ext cx="7972839" cy="2258460"/>
          </a:xfrm>
        </p:spPr>
        <p:txBody>
          <a:bodyPr/>
          <a:lstStyle/>
          <a:p>
            <a:r>
              <a:rPr lang="en-US" sz="1600" dirty="0">
                <a:solidFill>
                  <a:srgbClr val="07693D"/>
                </a:solidFill>
              </a:rPr>
              <a:t>Co2e emission factor  (per </a:t>
            </a:r>
            <a:r>
              <a:rPr lang="en-US" sz="1600" dirty="0" err="1">
                <a:solidFill>
                  <a:srgbClr val="07693D"/>
                </a:solidFill>
              </a:rPr>
              <a:t>Tonne</a:t>
            </a:r>
            <a:r>
              <a:rPr lang="en-US" sz="1600" dirty="0">
                <a:solidFill>
                  <a:srgbClr val="07693D"/>
                </a:solidFill>
              </a:rPr>
              <a:t> Km ), on truck 3.5t &gt; 7.5t &gt; 20t &gt; 40t</a:t>
            </a:r>
          </a:p>
          <a:p>
            <a:r>
              <a:rPr lang="en-US" sz="1600" dirty="0">
                <a:solidFill>
                  <a:srgbClr val="07693D"/>
                </a:solidFill>
              </a:rPr>
              <a:t>Based on cargo weight and select the minimum truck size CO2e factor</a:t>
            </a:r>
          </a:p>
          <a:p>
            <a:r>
              <a:rPr lang="en-US" sz="1600" b="1" u="sng" dirty="0">
                <a:solidFill>
                  <a:srgbClr val="07693D"/>
                </a:solidFill>
              </a:rPr>
              <a:t>Trip consolidation algorithms </a:t>
            </a:r>
            <a:r>
              <a:rPr lang="en-US" sz="1600" dirty="0">
                <a:solidFill>
                  <a:srgbClr val="07693D"/>
                </a:solidFill>
              </a:rPr>
              <a:t>based on [Origin] triggered at order level and advise consolidation opportunities </a:t>
            </a:r>
          </a:p>
          <a:p>
            <a:r>
              <a:rPr lang="en-US" sz="1600" dirty="0">
                <a:solidFill>
                  <a:srgbClr val="07693D"/>
                </a:solidFill>
              </a:rPr>
              <a:t>Shipping Unit Optimization from Package to Bulk/Pallet or Container</a:t>
            </a:r>
          </a:p>
          <a:p>
            <a:r>
              <a:rPr lang="en-US" sz="1600" dirty="0">
                <a:solidFill>
                  <a:srgbClr val="07693D"/>
                </a:solidFill>
              </a:rPr>
              <a:t>Rail route alert if city pair rail transits are available</a:t>
            </a:r>
          </a:p>
          <a:p>
            <a:endParaRPr lang="en-US" dirty="0"/>
          </a:p>
          <a:p>
            <a:pPr marL="1800" indent="0">
              <a:buNone/>
            </a:pPr>
            <a:endParaRPr lang="en-US" dirty="0"/>
          </a:p>
          <a:p>
            <a:pPr marL="1800" indent="0">
              <a:buNone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4CC14D-3762-4253-8A88-2DAA885AC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13F9BD1-6AF1-4C81-813E-BAA43221B291}"/>
              </a:ext>
            </a:extLst>
          </p:cNvPr>
          <p:cNvSpPr txBox="1"/>
          <p:nvPr/>
        </p:nvSpPr>
        <p:spPr>
          <a:xfrm flipH="1">
            <a:off x="702580" y="2636364"/>
            <a:ext cx="48655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7693D"/>
                </a:solidFill>
              </a:rPr>
              <a:t>Ground</a:t>
            </a:r>
            <a:endParaRPr lang="en-US" sz="1200" b="1" dirty="0">
              <a:solidFill>
                <a:srgbClr val="07693D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1562820-2F96-484C-97A9-8583A85F3F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40204" y="2431956"/>
            <a:ext cx="3295650" cy="352425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32038C4-AF45-4875-9A94-88A980AD7189}"/>
              </a:ext>
            </a:extLst>
          </p:cNvPr>
          <p:cNvSpPr txBox="1"/>
          <p:nvPr/>
        </p:nvSpPr>
        <p:spPr>
          <a:xfrm>
            <a:off x="-2549262" y="3536572"/>
            <a:ext cx="2299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rgbClr val="07693D"/>
                </a:solidFill>
              </a:rPr>
              <a:t>(</a:t>
            </a:r>
            <a:r>
              <a:rPr lang="en-US" sz="1200">
                <a:solidFill>
                  <a:srgbClr val="07693D"/>
                </a:solidFill>
                <a:highlight>
                  <a:srgbClr val="FFFF00"/>
                </a:highlight>
              </a:rPr>
              <a:t>Smart Way for us, favorite CL</a:t>
            </a:r>
            <a:r>
              <a:rPr lang="en-US" sz="1200">
                <a:solidFill>
                  <a:srgbClr val="07693D"/>
                </a:solidFill>
              </a:rPr>
              <a:t>)</a:t>
            </a:r>
            <a:endParaRPr lang="en-US" sz="120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4583675-E3C9-4097-8760-6161F1AD3321}"/>
              </a:ext>
            </a:extLst>
          </p:cNvPr>
          <p:cNvGrpSpPr/>
          <p:nvPr/>
        </p:nvGrpSpPr>
        <p:grpSpPr>
          <a:xfrm>
            <a:off x="9987352" y="395973"/>
            <a:ext cx="2172334" cy="753620"/>
            <a:chOff x="741329" y="1373164"/>
            <a:chExt cx="2172334" cy="75362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112C3C3-BF97-4A0E-A895-4820584791EA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0A2AE16-F25C-4C99-81AA-827CFAB5A6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11C7342E-2826-4272-B6A0-27C63AD283B3}"/>
              </a:ext>
            </a:extLst>
          </p:cNvPr>
          <p:cNvSpPr txBox="1"/>
          <p:nvPr/>
        </p:nvSpPr>
        <p:spPr>
          <a:xfrm>
            <a:off x="2747912" y="462473"/>
            <a:ext cx="832641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7693D"/>
                </a:solidFill>
              </a:rPr>
              <a:t>CO2e Reduction ML Model</a:t>
            </a:r>
          </a:p>
          <a:p>
            <a:r>
              <a:rPr lang="en-US" sz="32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Using CO2e emission Factors &amp; Consolidation Algorithms</a:t>
            </a:r>
          </a:p>
        </p:txBody>
      </p:sp>
    </p:spTree>
    <p:extLst>
      <p:ext uri="{BB962C8B-B14F-4D97-AF65-F5344CB8AC3E}">
        <p14:creationId xmlns:p14="http://schemas.microsoft.com/office/powerpoint/2010/main" val="22640229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4CC14D-3762-4253-8A88-2DAA885AC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18B7CCE-BAE8-4A88-8B1F-B0C63F5C4810}"/>
              </a:ext>
            </a:extLst>
          </p:cNvPr>
          <p:cNvSpPr txBox="1"/>
          <p:nvPr/>
        </p:nvSpPr>
        <p:spPr>
          <a:xfrm flipH="1">
            <a:off x="4408109" y="1920845"/>
            <a:ext cx="16878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2060"/>
                </a:solidFill>
              </a:rPr>
              <a:t>Air</a:t>
            </a:r>
          </a:p>
        </p:txBody>
      </p:sp>
      <p:sp>
        <p:nvSpPr>
          <p:cNvPr id="19" name="Content Placeholder 15">
            <a:extLst>
              <a:ext uri="{FF2B5EF4-FFF2-40B4-BE49-F238E27FC236}">
                <a16:creationId xmlns:a16="http://schemas.microsoft.com/office/drawing/2014/main" id="{E30E7020-30C1-42C5-BE6F-50D156C67308}"/>
              </a:ext>
            </a:extLst>
          </p:cNvPr>
          <p:cNvSpPr txBox="1">
            <a:spLocks/>
          </p:cNvSpPr>
          <p:nvPr/>
        </p:nvSpPr>
        <p:spPr bwMode="black">
          <a:xfrm>
            <a:off x="4226860" y="2610932"/>
            <a:ext cx="7449819" cy="3220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87550" indent="-285750" algn="l" rtl="0" eaLnBrk="0" fontAlgn="base" hangingPunct="0">
              <a:lnSpc>
                <a:spcPct val="12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Symbol" panose="05050102010706020507" pitchFamily="18" charset="2"/>
              <a:buChar char="·"/>
              <a:defRPr sz="14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Wingdings" panose="05000000000000000000" pitchFamily="2" charset="2"/>
              <a:buChar char="§"/>
              <a:defRPr lang="en-US" altLang="nl-NL" sz="1400" kern="1200">
                <a:solidFill>
                  <a:srgbClr val="05103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o"/>
              <a:defRPr sz="14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rgbClr val="FF3C3C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-"/>
              <a:defRPr sz="1400" kern="12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02060"/>
                </a:solidFill>
              </a:rPr>
              <a:t>Co2e emission factor  (per </a:t>
            </a:r>
            <a:r>
              <a:rPr lang="en-US" sz="1600" dirty="0" err="1">
                <a:solidFill>
                  <a:srgbClr val="002060"/>
                </a:solidFill>
              </a:rPr>
              <a:t>Tonne</a:t>
            </a:r>
            <a:r>
              <a:rPr lang="en-US" sz="1600" dirty="0">
                <a:solidFill>
                  <a:srgbClr val="002060"/>
                </a:solidFill>
              </a:rPr>
              <a:t> Km ), on aircraft Belly freight &gt; Cargo plane</a:t>
            </a:r>
          </a:p>
          <a:p>
            <a:r>
              <a:rPr lang="en-US" sz="1600" dirty="0">
                <a:solidFill>
                  <a:srgbClr val="002060"/>
                </a:solidFill>
              </a:rPr>
              <a:t>Prioritized air carriers from Cargo plane -&gt; Belly freight</a:t>
            </a:r>
          </a:p>
          <a:p>
            <a:r>
              <a:rPr lang="en-US" sz="1600" dirty="0">
                <a:solidFill>
                  <a:srgbClr val="002060"/>
                </a:solidFill>
              </a:rPr>
              <a:t>Prioritized air carriers by number of airport stops of each city pair</a:t>
            </a:r>
          </a:p>
          <a:p>
            <a:r>
              <a:rPr lang="en-US" sz="1600" dirty="0">
                <a:solidFill>
                  <a:srgbClr val="002060"/>
                </a:solidFill>
              </a:rPr>
              <a:t>Top Co2e Airline Index</a:t>
            </a:r>
          </a:p>
          <a:p>
            <a:r>
              <a:rPr lang="en-US" sz="1600" dirty="0">
                <a:solidFill>
                  <a:srgbClr val="002060"/>
                </a:solidFill>
              </a:rPr>
              <a:t>Shipping Unit Optimization from Package to Bulk/Pallet or Container</a:t>
            </a:r>
          </a:p>
          <a:p>
            <a:r>
              <a:rPr lang="en-US" sz="1600" dirty="0">
                <a:solidFill>
                  <a:srgbClr val="002060"/>
                </a:solidFill>
              </a:rPr>
              <a:t>Ocean route alert if delivery date are 6 week ahead</a:t>
            </a:r>
          </a:p>
          <a:p>
            <a:endParaRPr lang="en-US" dirty="0"/>
          </a:p>
          <a:p>
            <a:pPr marL="1800" indent="0">
              <a:buFont typeface="Symbol" panose="05050102010706020507" pitchFamily="18" charset="2"/>
              <a:buNone/>
            </a:pPr>
            <a:endParaRPr lang="en-US" dirty="0"/>
          </a:p>
          <a:p>
            <a:pPr marL="1800" indent="0">
              <a:buFont typeface="Symbol" panose="05050102010706020507" pitchFamily="18" charset="2"/>
              <a:buNone/>
            </a:pP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2038C4-AF45-4875-9A94-88A980AD7189}"/>
              </a:ext>
            </a:extLst>
          </p:cNvPr>
          <p:cNvSpPr txBox="1"/>
          <p:nvPr/>
        </p:nvSpPr>
        <p:spPr>
          <a:xfrm>
            <a:off x="-2549262" y="3536572"/>
            <a:ext cx="2299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rgbClr val="07693D"/>
                </a:solidFill>
              </a:rPr>
              <a:t>(</a:t>
            </a:r>
            <a:r>
              <a:rPr lang="en-US" sz="1200">
                <a:solidFill>
                  <a:srgbClr val="07693D"/>
                </a:solidFill>
                <a:highlight>
                  <a:srgbClr val="FFFF00"/>
                </a:highlight>
              </a:rPr>
              <a:t>Smart Way for us, favorite CL</a:t>
            </a:r>
            <a:r>
              <a:rPr lang="en-US" sz="1200">
                <a:solidFill>
                  <a:srgbClr val="07693D"/>
                </a:solidFill>
              </a:rPr>
              <a:t>)</a:t>
            </a:r>
            <a:endParaRPr lang="en-US" sz="120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9E96757-D14A-4FC1-94C3-DBD355BAC36E}"/>
              </a:ext>
            </a:extLst>
          </p:cNvPr>
          <p:cNvGrpSpPr/>
          <p:nvPr/>
        </p:nvGrpSpPr>
        <p:grpSpPr>
          <a:xfrm>
            <a:off x="10019666" y="387262"/>
            <a:ext cx="2172334" cy="753620"/>
            <a:chOff x="741329" y="1373164"/>
            <a:chExt cx="2172334" cy="75362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CAACCE-0D78-439B-AA38-EAF1B4B90004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A9C73B72-C7EB-49B9-8B76-27775D4CAD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B3F634C8-BFE8-431E-BF24-B4D6251D3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36572"/>
            <a:ext cx="4226860" cy="265291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A6883ACC-5AC8-4BCB-9BC6-5DB42735910B}"/>
              </a:ext>
            </a:extLst>
          </p:cNvPr>
          <p:cNvGrpSpPr/>
          <p:nvPr/>
        </p:nvGrpSpPr>
        <p:grpSpPr>
          <a:xfrm>
            <a:off x="544161" y="376720"/>
            <a:ext cx="2151943" cy="2061077"/>
            <a:chOff x="4469692" y="336795"/>
            <a:chExt cx="2151943" cy="2061077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ED52C398-B44A-434D-A918-2443CDEBF3D3}"/>
                </a:ext>
              </a:extLst>
            </p:cNvPr>
            <p:cNvSpPr/>
            <p:nvPr/>
          </p:nvSpPr>
          <p:spPr>
            <a:xfrm>
              <a:off x="4469692" y="336795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BAD0AD1-4E9A-42CD-BB7B-692E9F9ECF19}"/>
                </a:ext>
              </a:extLst>
            </p:cNvPr>
            <p:cNvGrpSpPr/>
            <p:nvPr/>
          </p:nvGrpSpPr>
          <p:grpSpPr>
            <a:xfrm>
              <a:off x="4617462" y="1173299"/>
              <a:ext cx="1933822" cy="530753"/>
              <a:chOff x="8163957" y="2296958"/>
              <a:chExt cx="3664865" cy="976442"/>
            </a:xfrm>
          </p:grpSpPr>
          <p:pic>
            <p:nvPicPr>
              <p:cNvPr id="27" name="Picture 26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4E05F353-467D-4A53-BE06-2E79C55FE4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harpenSoften amount="-50000"/>
                        </a14:imgEffect>
                        <a14:imgEffect>
                          <a14:brightnessContrast brigh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63957" y="2296958"/>
                <a:ext cx="1687611" cy="934742"/>
              </a:xfrm>
              <a:prstGeom prst="rect">
                <a:avLst/>
              </a:prstGeom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94E4172-3578-4C08-AB1F-7B15BA064F5E}"/>
                  </a:ext>
                </a:extLst>
              </p:cNvPr>
              <p:cNvSpPr txBox="1"/>
              <p:nvPr/>
            </p:nvSpPr>
            <p:spPr>
              <a:xfrm>
                <a:off x="9815574" y="2593929"/>
                <a:ext cx="2013248" cy="6794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rgbClr val="07693D"/>
                    </a:solidFill>
                  </a:rPr>
                  <a:t>e-aware</a:t>
                </a:r>
              </a:p>
            </p:txBody>
          </p:sp>
        </p:grp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D8CCBD3-AC6E-44A6-B404-73225BAF6D7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335036" y="1104752"/>
              <a:ext cx="1062322" cy="32259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43CD65AF-4F44-4544-8085-4825C890480E}"/>
              </a:ext>
            </a:extLst>
          </p:cNvPr>
          <p:cNvSpPr txBox="1"/>
          <p:nvPr/>
        </p:nvSpPr>
        <p:spPr>
          <a:xfrm>
            <a:off x="4248921" y="1144101"/>
            <a:ext cx="6251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7693D"/>
                </a:solidFill>
              </a:rPr>
              <a:t>Use Green Conscious Airlines</a:t>
            </a:r>
          </a:p>
        </p:txBody>
      </p:sp>
    </p:spTree>
    <p:extLst>
      <p:ext uri="{BB962C8B-B14F-4D97-AF65-F5344CB8AC3E}">
        <p14:creationId xmlns:p14="http://schemas.microsoft.com/office/powerpoint/2010/main" val="2763138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FF68CB0-7320-42E2-943E-08699C49F06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842030" y="1595774"/>
            <a:ext cx="1074420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b="1" kern="1200" dirty="0">
                <a:solidFill>
                  <a:schemeClr val="bg1"/>
                </a:solidFill>
                <a:highlight>
                  <a:srgbClr val="008000"/>
                </a:highlight>
              </a:rPr>
              <a:t>Co2e Emission </a:t>
            </a:r>
            <a:r>
              <a:rPr lang="en-US" sz="3600" b="1" dirty="0">
                <a:solidFill>
                  <a:schemeClr val="bg1"/>
                </a:solidFill>
                <a:highlight>
                  <a:srgbClr val="008000"/>
                </a:highlight>
              </a:rPr>
              <a:t>Intelligence</a:t>
            </a:r>
            <a:endParaRPr lang="en-US" sz="3600" b="1" kern="1200" dirty="0">
              <a:solidFill>
                <a:schemeClr val="bg1"/>
              </a:solidFill>
              <a:highlight>
                <a:srgbClr val="008000"/>
              </a:highlight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C5945D-4EF9-4ABA-A3D7-D89A1D055AE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1070151" y="2699964"/>
            <a:ext cx="10744200" cy="365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7693D"/>
              </a:buClr>
            </a:pPr>
            <a:r>
              <a:rPr lang="en-US" sz="2400" b="1" u="sng" dirty="0">
                <a:solidFill>
                  <a:srgbClr val="07693D"/>
                </a:solidFill>
              </a:rPr>
              <a:t>Co2e Emission Indexes </a:t>
            </a:r>
            <a:r>
              <a:rPr lang="en-US" sz="2400" b="1" dirty="0">
                <a:solidFill>
                  <a:srgbClr val="07693D"/>
                </a:solidFill>
              </a:rPr>
              <a:t>on Air, Ground, North America &amp; Europe</a:t>
            </a:r>
          </a:p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7693D"/>
              </a:buClr>
            </a:pPr>
            <a:r>
              <a:rPr lang="en-US" sz="2400" b="1" u="sng" dirty="0">
                <a:solidFill>
                  <a:srgbClr val="07693D"/>
                </a:solidFill>
              </a:rPr>
              <a:t>Co2e Linear Regression Forecast Model</a:t>
            </a:r>
            <a:r>
              <a:rPr lang="en-US" sz="2400" b="1" dirty="0">
                <a:solidFill>
                  <a:srgbClr val="07693D"/>
                </a:solidFill>
              </a:rPr>
              <a:t> on trend and season</a:t>
            </a:r>
          </a:p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7693D"/>
              </a:buClr>
            </a:pPr>
            <a:r>
              <a:rPr lang="en-US" sz="2400" b="1" u="sng" dirty="0">
                <a:solidFill>
                  <a:srgbClr val="07693D"/>
                </a:solidFill>
              </a:rPr>
              <a:t>Trip consolidation opportunity </a:t>
            </a:r>
            <a:r>
              <a:rPr lang="en-US" sz="2400" b="1" dirty="0">
                <a:solidFill>
                  <a:srgbClr val="07693D"/>
                </a:solidFill>
              </a:rPr>
              <a:t>cluster model by OD path &amp; Delivery Date</a:t>
            </a:r>
          </a:p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7693D"/>
              </a:buClr>
            </a:pPr>
            <a:r>
              <a:rPr lang="en-US" sz="2400" b="1" dirty="0">
                <a:solidFill>
                  <a:srgbClr val="07693D"/>
                </a:solidFill>
              </a:rPr>
              <a:t>Co2e Emission Saving Calculator </a:t>
            </a:r>
          </a:p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7693D"/>
              </a:buClr>
            </a:pPr>
            <a:r>
              <a:rPr lang="en-US" sz="2400" b="1" kern="1200" dirty="0">
                <a:solidFill>
                  <a:srgbClr val="07693D"/>
                </a:solidFill>
              </a:rPr>
              <a:t>See Dashboard Presentation</a:t>
            </a:r>
            <a:endParaRPr lang="en-US" sz="2400" b="1" dirty="0">
              <a:solidFill>
                <a:srgbClr val="07693D"/>
              </a:solidFill>
            </a:endParaRPr>
          </a:p>
          <a:p>
            <a:pPr marL="342900" indent="-34290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400" b="1" dirty="0">
              <a:solidFill>
                <a:srgbClr val="07693D"/>
              </a:solidFill>
            </a:endParaRPr>
          </a:p>
          <a:p>
            <a:pPr marL="0" lvl="0" indent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2400" b="1" dirty="0">
              <a:solidFill>
                <a:srgbClr val="07693D"/>
              </a:solidFill>
            </a:endParaRPr>
          </a:p>
          <a:p>
            <a:pPr marL="0" lvl="0" indent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b="1" kern="1200" dirty="0">
                <a:solidFill>
                  <a:schemeClr val="bg1"/>
                </a:solidFill>
              </a:rPr>
              <a:t>Dashboar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97E781-1EEA-4C47-AEDE-19539F770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E9413C3-E1FD-4146-957A-4CB85155ED61}"/>
              </a:ext>
            </a:extLst>
          </p:cNvPr>
          <p:cNvGrpSpPr/>
          <p:nvPr/>
        </p:nvGrpSpPr>
        <p:grpSpPr>
          <a:xfrm>
            <a:off x="591658" y="187813"/>
            <a:ext cx="2151943" cy="2061077"/>
            <a:chOff x="4970814" y="2158680"/>
            <a:chExt cx="2151943" cy="2061077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A8A7DFD-AE25-45B4-9FD2-3B14E6D044D0}"/>
                </a:ext>
              </a:extLst>
            </p:cNvPr>
            <p:cNvSpPr/>
            <p:nvPr/>
          </p:nvSpPr>
          <p:spPr>
            <a:xfrm>
              <a:off x="4970814" y="2158680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BE6931A-8E77-440F-B8C9-7B1E6B0E1E39}"/>
                </a:ext>
              </a:extLst>
            </p:cNvPr>
            <p:cNvGrpSpPr/>
            <p:nvPr/>
          </p:nvGrpSpPr>
          <p:grpSpPr>
            <a:xfrm>
              <a:off x="5214651" y="2802807"/>
              <a:ext cx="1762698" cy="980821"/>
              <a:chOff x="5258145" y="3173216"/>
              <a:chExt cx="2346819" cy="1301010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7E183BD-3B33-438B-AFE1-EFAAA0A52EE9}"/>
                  </a:ext>
                </a:extLst>
              </p:cNvPr>
              <p:cNvSpPr txBox="1"/>
              <p:nvPr/>
            </p:nvSpPr>
            <p:spPr>
              <a:xfrm>
                <a:off x="5258145" y="3657726"/>
                <a:ext cx="2346819" cy="816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rgbClr val="07693D"/>
                    </a:solidFill>
                  </a:rPr>
                  <a:t>Knows Co2</a:t>
                </a:r>
              </a:p>
              <a:p>
                <a:pPr algn="ctr"/>
                <a:r>
                  <a:rPr lang="en-US" b="1" dirty="0">
                    <a:solidFill>
                      <a:srgbClr val="07693D"/>
                    </a:solidFill>
                  </a:rPr>
                  <a:t>Co2 Intelligence</a:t>
                </a:r>
              </a:p>
            </p:txBody>
          </p:sp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D01F2A21-46D8-4634-BC9E-44FC1AF962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357446" y="3173216"/>
                <a:ext cx="1944794" cy="590566"/>
              </a:xfrm>
              <a:prstGeom prst="rect">
                <a:avLst/>
              </a:prstGeom>
            </p:spPr>
          </p:pic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3E208A6-DA65-43DA-9D3F-C5457CE526DC}"/>
              </a:ext>
            </a:extLst>
          </p:cNvPr>
          <p:cNvGrpSpPr/>
          <p:nvPr/>
        </p:nvGrpSpPr>
        <p:grpSpPr>
          <a:xfrm>
            <a:off x="10019666" y="328896"/>
            <a:ext cx="2172334" cy="753620"/>
            <a:chOff x="741329" y="1373164"/>
            <a:chExt cx="2172334" cy="75362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1E56E21-F994-4F30-A09D-26FC6471AD53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50FD059-34C7-4F04-BC8B-B36A396210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27325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C8706E-275A-48F7-9E31-4921CE8047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ugust 2021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D9C40D-BB03-4288-808A-3BC34DFC55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2756" y="1537220"/>
            <a:ext cx="8109476" cy="4440298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720F8706-D6B0-46BE-B51A-23192EE875DF}"/>
              </a:ext>
            </a:extLst>
          </p:cNvPr>
          <p:cNvGrpSpPr/>
          <p:nvPr/>
        </p:nvGrpSpPr>
        <p:grpSpPr>
          <a:xfrm>
            <a:off x="253487" y="358079"/>
            <a:ext cx="2151943" cy="2061077"/>
            <a:chOff x="4970814" y="2158680"/>
            <a:chExt cx="2151943" cy="2061077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2C87233-E5BA-4C6E-BBDD-FF0B9F3CD134}"/>
                </a:ext>
              </a:extLst>
            </p:cNvPr>
            <p:cNvSpPr/>
            <p:nvPr/>
          </p:nvSpPr>
          <p:spPr>
            <a:xfrm>
              <a:off x="4970814" y="2158680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22CB2B9-2F7F-4287-847B-B979B1EA7137}"/>
                </a:ext>
              </a:extLst>
            </p:cNvPr>
            <p:cNvGrpSpPr/>
            <p:nvPr/>
          </p:nvGrpSpPr>
          <p:grpSpPr>
            <a:xfrm>
              <a:off x="5214651" y="2802807"/>
              <a:ext cx="1762698" cy="980821"/>
              <a:chOff x="5258145" y="3173216"/>
              <a:chExt cx="2346819" cy="1301010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0F2C18A-3DCE-4173-8934-40F7F46B959D}"/>
                  </a:ext>
                </a:extLst>
              </p:cNvPr>
              <p:cNvSpPr txBox="1"/>
              <p:nvPr/>
            </p:nvSpPr>
            <p:spPr>
              <a:xfrm>
                <a:off x="5258145" y="3657726"/>
                <a:ext cx="2346819" cy="8165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rgbClr val="07693D"/>
                    </a:solidFill>
                  </a:rPr>
                  <a:t>Knows Co2</a:t>
                </a:r>
              </a:p>
              <a:p>
                <a:pPr algn="ctr"/>
                <a:r>
                  <a:rPr lang="en-US" b="1" dirty="0">
                    <a:solidFill>
                      <a:srgbClr val="07693D"/>
                    </a:solidFill>
                  </a:rPr>
                  <a:t>Co2 Intelligence</a:t>
                </a:r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1BA0994B-9196-468A-80E9-8D5F8339BB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357446" y="3173216"/>
                <a:ext cx="1944794" cy="590566"/>
              </a:xfrm>
              <a:prstGeom prst="rect">
                <a:avLst/>
              </a:prstGeom>
            </p:spPr>
          </p:pic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28EDCF8-194A-433E-A057-B1BAF92EDF07}"/>
              </a:ext>
            </a:extLst>
          </p:cNvPr>
          <p:cNvGrpSpPr/>
          <p:nvPr/>
        </p:nvGrpSpPr>
        <p:grpSpPr>
          <a:xfrm>
            <a:off x="9941845" y="625396"/>
            <a:ext cx="2172334" cy="753620"/>
            <a:chOff x="741329" y="1373164"/>
            <a:chExt cx="2172334" cy="75362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151A422-8380-430E-903D-1C2EA2A4474E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99C7140-DC68-426E-9ED7-B78545C7FE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5159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9DBFFBAB-DFEC-4BA3-BF3C-5176CE816BF5}"/>
              </a:ext>
            </a:extLst>
          </p:cNvPr>
          <p:cNvSpPr txBox="1"/>
          <p:nvPr/>
        </p:nvSpPr>
        <p:spPr>
          <a:xfrm>
            <a:off x="1588308" y="2899145"/>
            <a:ext cx="8965096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65A34"/>
                </a:solidFill>
              </a:rPr>
              <a:t>City Pair based shipment </a:t>
            </a:r>
            <a:r>
              <a:rPr lang="en-US" sz="2000" b="1" dirty="0">
                <a:solidFill>
                  <a:srgbClr val="065A34"/>
                </a:solidFill>
              </a:rPr>
              <a:t>CO2e</a:t>
            </a:r>
            <a:r>
              <a:rPr lang="en-US" sz="2000" dirty="0">
                <a:solidFill>
                  <a:srgbClr val="065A34"/>
                </a:solidFill>
              </a:rPr>
              <a:t> discovery panel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65A34"/>
                </a:solidFill>
              </a:rPr>
              <a:t>CO2e forecast based on air/ocean port and routes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065A34"/>
                </a:solidFill>
              </a:rPr>
              <a:t>Interactive CO2 calculations </a:t>
            </a:r>
            <a:r>
              <a:rPr lang="en-US" sz="2000" dirty="0">
                <a:solidFill>
                  <a:srgbClr val="065A34"/>
                </a:solidFill>
              </a:rPr>
              <a:t>driven by distance, weight &amp; </a:t>
            </a:r>
            <a:r>
              <a:rPr lang="en-US" sz="2000" b="1" dirty="0">
                <a:solidFill>
                  <a:srgbClr val="065A34"/>
                </a:solidFill>
              </a:rPr>
              <a:t>CO2e</a:t>
            </a:r>
            <a:r>
              <a:rPr lang="en-US" sz="2000" dirty="0">
                <a:solidFill>
                  <a:srgbClr val="065A34"/>
                </a:solidFill>
              </a:rPr>
              <a:t> visualization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65A34"/>
                </a:solidFill>
                <a:highlight>
                  <a:srgbClr val="FFFF00"/>
                </a:highlight>
              </a:rPr>
              <a:t>Consolidation opportunity advisor </a:t>
            </a:r>
            <a:r>
              <a:rPr lang="en-US" sz="2000" dirty="0">
                <a:solidFill>
                  <a:srgbClr val="065A34"/>
                </a:solidFill>
              </a:rPr>
              <a:t>by day, week on air/ocean ports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65A34"/>
                </a:solidFill>
                <a:highlight>
                  <a:srgbClr val="FFFF00"/>
                </a:highlight>
              </a:rPr>
              <a:t>Route wizard </a:t>
            </a:r>
            <a:r>
              <a:rPr lang="en-US" sz="2000" b="1" dirty="0">
                <a:solidFill>
                  <a:srgbClr val="065A34"/>
                </a:solidFill>
              </a:rPr>
              <a:t>suggests CO2e </a:t>
            </a:r>
            <a:r>
              <a:rPr lang="en-US" sz="2000" dirty="0">
                <a:solidFill>
                  <a:srgbClr val="065A34"/>
                </a:solidFill>
              </a:rPr>
              <a:t>reduction route and trip combination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65A34"/>
                </a:solidFill>
              </a:rPr>
              <a:t>Green calculator </a:t>
            </a:r>
            <a:r>
              <a:rPr lang="en-US" sz="2000" dirty="0">
                <a:solidFill>
                  <a:srgbClr val="065A34"/>
                </a:solidFill>
              </a:rPr>
              <a:t>delivers optimized </a:t>
            </a:r>
            <a:r>
              <a:rPr lang="en-US" sz="2000" b="1" dirty="0">
                <a:solidFill>
                  <a:srgbClr val="065A34"/>
                </a:solidFill>
              </a:rPr>
              <a:t>CO2e shipment and execution plan</a:t>
            </a:r>
            <a:endParaRPr lang="en-US" sz="2000" dirty="0">
              <a:solidFill>
                <a:srgbClr val="065A3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543D11D-0C06-4EAF-BAE3-9D1A2FBB0F50}"/>
              </a:ext>
            </a:extLst>
          </p:cNvPr>
          <p:cNvGrpSpPr/>
          <p:nvPr/>
        </p:nvGrpSpPr>
        <p:grpSpPr>
          <a:xfrm>
            <a:off x="10436086" y="4422914"/>
            <a:ext cx="1639509" cy="1598214"/>
            <a:chOff x="1555312" y="1794987"/>
            <a:chExt cx="1881187" cy="188118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819B85-3692-472F-98E9-B21099DB58D9}"/>
                </a:ext>
              </a:extLst>
            </p:cNvPr>
            <p:cNvGrpSpPr/>
            <p:nvPr/>
          </p:nvGrpSpPr>
          <p:grpSpPr>
            <a:xfrm>
              <a:off x="1555312" y="1794987"/>
              <a:ext cx="1881187" cy="1881187"/>
              <a:chOff x="2647512" y="1808912"/>
              <a:chExt cx="1881187" cy="1881187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C10061EF-BFFC-47F8-BE6B-FF449FCB27B5}"/>
                  </a:ext>
                </a:extLst>
              </p:cNvPr>
              <p:cNvSpPr/>
              <p:nvPr/>
            </p:nvSpPr>
            <p:spPr>
              <a:xfrm>
                <a:off x="2647512" y="1808912"/>
                <a:ext cx="1881187" cy="1881187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76200">
                <a:solidFill>
                  <a:srgbClr val="002060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1" name="Oval 4">
                <a:extLst>
                  <a:ext uri="{FF2B5EF4-FFF2-40B4-BE49-F238E27FC236}">
                    <a16:creationId xmlns:a16="http://schemas.microsoft.com/office/drawing/2014/main" id="{5E08363B-E0B4-463A-BB44-38BBA61D159C}"/>
                  </a:ext>
                </a:extLst>
              </p:cNvPr>
              <p:cNvSpPr txBox="1"/>
              <p:nvPr/>
            </p:nvSpPr>
            <p:spPr>
              <a:xfrm>
                <a:off x="2947597" y="1997091"/>
                <a:ext cx="1356644" cy="135190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000" b="1" kern="1200" dirty="0">
                  <a:solidFill>
                    <a:srgbClr val="002060"/>
                  </a:solidFill>
                </a:endParaRPr>
              </a:p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2800" b="1" kern="1200" dirty="0">
                  <a:solidFill>
                    <a:srgbClr val="002060"/>
                  </a:solidFill>
                </a:endParaRPr>
              </a:p>
              <a:p>
                <a:pPr marL="0" lvl="0" indent="0"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200" b="1" kern="1200" dirty="0">
                    <a:solidFill>
                      <a:srgbClr val="002060"/>
                    </a:solidFill>
                  </a:rPr>
                  <a:t>Supply Chain</a:t>
                </a:r>
              </a:p>
            </p:txBody>
          </p:sp>
        </p:grp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40A281C-E9E4-4A1F-9C82-7AFAC5B18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839966" y="2267242"/>
              <a:ext cx="1356644" cy="284424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A7AA4D4-FF11-4A93-8AE2-4BD47FE14DE6}"/>
                </a:ext>
              </a:extLst>
            </p:cNvPr>
            <p:cNvSpPr/>
            <p:nvPr/>
          </p:nvSpPr>
          <p:spPr>
            <a:xfrm flipH="1">
              <a:off x="1600077" y="2551667"/>
              <a:ext cx="1836421" cy="533043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2000" b="1" cap="none" spc="50" dirty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Smart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01A8A91-14FD-4489-B238-BAB0481590A8}"/>
              </a:ext>
            </a:extLst>
          </p:cNvPr>
          <p:cNvGrpSpPr/>
          <p:nvPr/>
        </p:nvGrpSpPr>
        <p:grpSpPr>
          <a:xfrm>
            <a:off x="10147853" y="1203391"/>
            <a:ext cx="2172334" cy="753620"/>
            <a:chOff x="741329" y="1373164"/>
            <a:chExt cx="2172334" cy="75362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42A868F-8510-4E14-A501-D7015D097CCE}"/>
                </a:ext>
              </a:extLst>
            </p:cNvPr>
            <p:cNvSpPr txBox="1"/>
            <p:nvPr/>
          </p:nvSpPr>
          <p:spPr>
            <a:xfrm>
              <a:off x="741329" y="1757452"/>
              <a:ext cx="21723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65A34"/>
                  </a:solidFill>
                </a:rPr>
                <a:t> Green Journey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0739ED31-92A7-490C-B251-C1362CA39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5980" y="1373164"/>
              <a:ext cx="1565153" cy="475282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0D257BD-4C3C-4F6B-856E-ABDD5814900C}"/>
              </a:ext>
            </a:extLst>
          </p:cNvPr>
          <p:cNvGrpSpPr/>
          <p:nvPr/>
        </p:nvGrpSpPr>
        <p:grpSpPr>
          <a:xfrm>
            <a:off x="348826" y="73460"/>
            <a:ext cx="2478964" cy="2061077"/>
            <a:chOff x="8457256" y="2158680"/>
            <a:chExt cx="2478964" cy="2061077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66ABE0A-710C-46D5-B3BF-23FB92D7EC9E}"/>
                </a:ext>
              </a:extLst>
            </p:cNvPr>
            <p:cNvSpPr/>
            <p:nvPr/>
          </p:nvSpPr>
          <p:spPr>
            <a:xfrm>
              <a:off x="8457256" y="2158680"/>
              <a:ext cx="2151943" cy="2061077"/>
            </a:xfrm>
            <a:prstGeom prst="ellipse">
              <a:avLst/>
            </a:prstGeom>
            <a:solidFill>
              <a:srgbClr val="FCFFD1"/>
            </a:solidFill>
            <a:ln w="76200">
              <a:solidFill>
                <a:srgbClr val="07693D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B99636F-5DB2-4126-B1F7-61EF1B965E79}"/>
                </a:ext>
              </a:extLst>
            </p:cNvPr>
            <p:cNvGrpSpPr/>
            <p:nvPr/>
          </p:nvGrpSpPr>
          <p:grpSpPr>
            <a:xfrm>
              <a:off x="8605912" y="2660243"/>
              <a:ext cx="2330308" cy="1153971"/>
              <a:chOff x="5611334" y="742367"/>
              <a:chExt cx="2330308" cy="115397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5305547D-F041-4096-BD8C-5C812952CBCE}"/>
                  </a:ext>
                </a:extLst>
              </p:cNvPr>
              <p:cNvGrpSpPr/>
              <p:nvPr/>
            </p:nvGrpSpPr>
            <p:grpSpPr>
              <a:xfrm>
                <a:off x="5611334" y="742367"/>
                <a:ext cx="1870564" cy="830997"/>
                <a:chOff x="632720" y="1284355"/>
                <a:chExt cx="1870564" cy="830997"/>
              </a:xfrm>
            </p:grpSpPr>
            <p:pic>
              <p:nvPicPr>
                <p:cNvPr id="25" name="Picture 24" descr="A picture containing text&#10;&#10;Description automatically generated">
                  <a:extLst>
                    <a:ext uri="{FF2B5EF4-FFF2-40B4-BE49-F238E27FC236}">
                      <a16:creationId xmlns:a16="http://schemas.microsoft.com/office/drawing/2014/main" id="{A2276B00-2FED-498A-AE48-418CF15A07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BEBA8EAE-BF5A-486C-A8C5-ECC9F3942E4B}">
                      <a14:imgProps xmlns:a14="http://schemas.microsoft.com/office/drawing/2010/main">
                        <a14:imgLayer r:embed="rId5">
                          <a14:imgEffect>
                            <a14:brightnessContrast bright="-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2720" y="1334693"/>
                  <a:ext cx="1468890" cy="637988"/>
                </a:xfrm>
                <a:prstGeom prst="rect">
                  <a:avLst/>
                </a:prstGeom>
              </p:spPr>
            </p:pic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E50F5545-C232-4E97-B4F1-01A8A9A6FAAE}"/>
                    </a:ext>
                  </a:extLst>
                </p:cNvPr>
                <p:cNvSpPr/>
                <p:nvPr/>
              </p:nvSpPr>
              <p:spPr>
                <a:xfrm>
                  <a:off x="2009238" y="1284355"/>
                  <a:ext cx="494046" cy="830997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ctr"/>
                  <a:r>
                    <a:rPr lang="en-US" sz="4800" b="1" cap="none" spc="0" dirty="0">
                      <a:ln w="0"/>
                      <a:solidFill>
                        <a:srgbClr val="065A34"/>
                      </a:solidFill>
                      <a:effectLst>
                        <a:outerShdw blurRad="38100" dist="19050" dir="2700000" algn="tl" rotWithShape="0">
                          <a:schemeClr val="dk1">
                            <a:alpha val="40000"/>
                          </a:schemeClr>
                        </a:outerShdw>
                      </a:effectLst>
                    </a:rPr>
                    <a:t>e</a:t>
                  </a:r>
                </a:p>
              </p:txBody>
            </p:sp>
          </p:grp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BC6F566B-091E-4AAC-8E6F-9468BB364D3F}"/>
                  </a:ext>
                </a:extLst>
              </p:cNvPr>
              <p:cNvSpPr txBox="1"/>
              <p:nvPr/>
            </p:nvSpPr>
            <p:spPr>
              <a:xfrm>
                <a:off x="5619456" y="1311563"/>
                <a:ext cx="2322186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3200" b="1" cap="none" spc="0" dirty="0">
                    <a:ln w="0"/>
                    <a:solidFill>
                      <a:srgbClr val="065A34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Discovery</a:t>
                </a:r>
                <a:endParaRPr lang="en-US" sz="3200" dirty="0"/>
              </a:p>
            </p:txBody>
          </p:sp>
        </p:grp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3FD0838-0238-4D0C-A709-A06541778A4C}"/>
              </a:ext>
            </a:extLst>
          </p:cNvPr>
          <p:cNvSpPr txBox="1"/>
          <p:nvPr/>
        </p:nvSpPr>
        <p:spPr>
          <a:xfrm>
            <a:off x="2690503" y="1355507"/>
            <a:ext cx="6251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7693D"/>
                </a:solidFill>
              </a:rPr>
              <a:t>We can be more GREEN</a:t>
            </a:r>
          </a:p>
        </p:txBody>
      </p:sp>
    </p:spTree>
    <p:extLst>
      <p:ext uri="{BB962C8B-B14F-4D97-AF65-F5344CB8AC3E}">
        <p14:creationId xmlns:p14="http://schemas.microsoft.com/office/powerpoint/2010/main" val="800948696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16020D-C36F-42EC-9C2B-3CB22BED8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EVA Machine Learning Capability Presentation – April 2020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0CE2A61-4C3C-41AC-99FA-D6AD7DC8A205}"/>
              </a:ext>
            </a:extLst>
          </p:cNvPr>
          <p:cNvSpPr/>
          <p:nvPr/>
        </p:nvSpPr>
        <p:spPr>
          <a:xfrm>
            <a:off x="4348726" y="2607411"/>
            <a:ext cx="363073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0"/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65043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ZH1TpwTL.8towqsFsI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WRu1JdTMyiMEcZCahK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dPIUVqSzSJtDX3x1T8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irKIjZGvjCV2yEnApS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U2f8RpTLmXNqsT_Qoi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RXhFwfQvaly3qUYpxg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FvQPzvgQtdUNV2oip8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4FqAxDQLayO._ABkFO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Qc1iSjSpqnv9vxjOyQ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ZH1TpwTL.8towqsFsI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Qc1iSjSpqnv9vxjOyQ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V7T0JQQY6u5by7Q34q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4FqAxDQLayO._ABkFO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0DdhJ5S8qkftgreU60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4FqAxDQLayO._ABkFO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V7T0JQQY6u5by7Q34qkA"/>
</p:tagLst>
</file>

<file path=ppt/theme/theme1.xml><?xml version="1.0" encoding="utf-8"?>
<a:theme xmlns:a="http://schemas.openxmlformats.org/drawingml/2006/main" name="CEVA">
  <a:themeElements>
    <a:clrScheme name="CEVA_new">
      <a:dk1>
        <a:srgbClr val="000000"/>
      </a:dk1>
      <a:lt1>
        <a:srgbClr val="FFFFFF"/>
      </a:lt1>
      <a:dk2>
        <a:srgbClr val="CCCCCC"/>
      </a:dk2>
      <a:lt2>
        <a:srgbClr val="666666"/>
      </a:lt2>
      <a:accent1>
        <a:srgbClr val="051039"/>
      </a:accent1>
      <a:accent2>
        <a:srgbClr val="FF0000"/>
      </a:accent2>
      <a:accent3>
        <a:srgbClr val="344A7B"/>
      </a:accent3>
      <a:accent4>
        <a:srgbClr val="477AB5"/>
      </a:accent4>
      <a:accent5>
        <a:srgbClr val="5998D3"/>
      </a:accent5>
      <a:accent6>
        <a:srgbClr val="D5DDFB"/>
      </a:accent6>
      <a:hlink>
        <a:srgbClr val="006699"/>
      </a:hlink>
      <a:folHlink>
        <a:srgbClr val="99999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nl-NL" sz="18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Calibri" panose="020F050202020403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nl-NL" sz="18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Calibri" panose="020F0502020204030204" pitchFamily="34" charset="0"/>
          </a:defRPr>
        </a:defPPr>
      </a:lstStyle>
    </a:lnDef>
  </a:objectDefaults>
  <a:extraClrSchemeLst>
    <a:extraClrScheme>
      <a:clrScheme name="CEVA 1">
        <a:dk1>
          <a:srgbClr val="000000"/>
        </a:dk1>
        <a:lt1>
          <a:srgbClr val="FFFFFF"/>
        </a:lt1>
        <a:dk2>
          <a:srgbClr val="990033"/>
        </a:dk2>
        <a:lt2>
          <a:srgbClr val="666666"/>
        </a:lt2>
        <a:accent1>
          <a:srgbClr val="CCCCCC"/>
        </a:accent1>
        <a:accent2>
          <a:srgbClr val="006699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8A"/>
        </a:accent6>
        <a:hlink>
          <a:srgbClr val="FF0033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VA 2">
        <a:dk1>
          <a:srgbClr val="000000"/>
        </a:dk1>
        <a:lt1>
          <a:srgbClr val="FFFFFF"/>
        </a:lt1>
        <a:dk2>
          <a:srgbClr val="CCCCCC"/>
        </a:dk2>
        <a:lt2>
          <a:srgbClr val="666666"/>
        </a:lt2>
        <a:accent1>
          <a:srgbClr val="990033"/>
        </a:accent1>
        <a:accent2>
          <a:srgbClr val="FF0033"/>
        </a:accent2>
        <a:accent3>
          <a:srgbClr val="FFFFFF"/>
        </a:accent3>
        <a:accent4>
          <a:srgbClr val="000000"/>
        </a:accent4>
        <a:accent5>
          <a:srgbClr val="CAAAAD"/>
        </a:accent5>
        <a:accent6>
          <a:srgbClr val="E7002D"/>
        </a:accent6>
        <a:hlink>
          <a:srgbClr val="006699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D58DE15C522A4792DD639F2D2245EA" ma:contentTypeVersion="1" ma:contentTypeDescription="Create a new document." ma:contentTypeScope="" ma:versionID="8260c78545db7e88bf99b741d0534452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afd6403dc1942bbe1defb8d9352624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A726208E-7FFF-4F68-B56A-A9383EE2E9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4DFF339-F5BB-45AD-BC53-F324779DA89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E0FCD3E-24AB-412A-8F26-34D573E13118}">
  <ds:schemaRefs>
    <ds:schemaRef ds:uri="http://schemas.microsoft.com/sharepoint/v3"/>
    <ds:schemaRef ds:uri="http://purl.org/dc/elements/1.1/"/>
    <ds:schemaRef ds:uri="http://www.w3.org/XML/1998/namespace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19</Words>
  <Application>Microsoft Office PowerPoint</Application>
  <PresentationFormat>Widescreen</PresentationFormat>
  <Paragraphs>92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Symbol</vt:lpstr>
      <vt:lpstr>Wingdings</vt:lpstr>
      <vt:lpstr>CEVA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2e Emission Intelligenc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VA Logistics</dc:title>
  <dc:creator/>
  <cp:lastModifiedBy/>
  <cp:revision>1</cp:revision>
  <dcterms:created xsi:type="dcterms:W3CDTF">2019-07-16T15:33:55Z</dcterms:created>
  <dcterms:modified xsi:type="dcterms:W3CDTF">2022-02-25T20:3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BD58DE15C522A4792DD639F2D2245EA</vt:lpwstr>
  </property>
</Properties>
</file>